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4" r:id="rId2"/>
    <p:sldId id="275" r:id="rId3"/>
    <p:sldId id="276" r:id="rId4"/>
    <p:sldId id="277" r:id="rId5"/>
    <p:sldId id="278" r:id="rId6"/>
    <p:sldId id="279" r:id="rId7"/>
    <p:sldId id="280" r:id="rId8"/>
    <p:sldId id="281" r:id="rId9"/>
    <p:sldId id="282" r:id="rId10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9B18"/>
    <a:srgbClr val="CE202A"/>
    <a:srgbClr val="D5D5D5"/>
    <a:srgbClr val="0D65AC"/>
    <a:srgbClr val="F0B71F"/>
    <a:srgbClr val="073D69"/>
    <a:srgbClr val="09497D"/>
    <a:srgbClr val="7F1318"/>
    <a:srgbClr val="A61A21"/>
    <a:srgbClr val="1E69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968" autoAdjust="0"/>
  </p:normalViewPr>
  <p:slideViewPr>
    <p:cSldViewPr>
      <p:cViewPr>
        <p:scale>
          <a:sx n="55" d="100"/>
          <a:sy n="55" d="100"/>
        </p:scale>
        <p:origin x="-1788" y="-258"/>
      </p:cViewPr>
      <p:guideLst>
        <p:guide orient="horz" pos="1008"/>
        <p:guide orient="horz" pos="3600"/>
        <p:guide pos="2880"/>
        <p:guide pos="5568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73D69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9497D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D65AC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2A9B1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CE202A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F0B71F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7558656"/>
        <c:axId val="47560192"/>
      </c:barChart>
      <c:catAx>
        <c:axId val="47558656"/>
        <c:scaling>
          <c:orientation val="minMax"/>
        </c:scaling>
        <c:delete val="1"/>
        <c:axPos val="b"/>
        <c:majorTickMark val="none"/>
        <c:minorTickMark val="none"/>
        <c:tickLblPos val="nextTo"/>
        <c:crossAx val="47560192"/>
        <c:crosses val="autoZero"/>
        <c:auto val="1"/>
        <c:lblAlgn val="ctr"/>
        <c:lblOffset val="100"/>
        <c:noMultiLvlLbl val="0"/>
      </c:catAx>
      <c:valAx>
        <c:axId val="4756019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47558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6904761904762E-2"/>
          <c:y val="0"/>
          <c:w val="0.96726190476190477"/>
          <c:h val="0.807525621797275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D65AC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9497D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73D69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2A9B1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258515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1E6911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3.5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solidFill>
              <a:srgbClr val="CE202A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eries 8</c:v>
                </c:pt>
              </c:strCache>
            </c:strRef>
          </c:tx>
          <c:spPr>
            <a:solidFill>
              <a:srgbClr val="A61A21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I$2</c:f>
              <c:numCache>
                <c:formatCode>General</c:formatCode>
                <c:ptCount val="1"/>
                <c:pt idx="0">
                  <c:v>4.5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Series 9</c:v>
                </c:pt>
              </c:strCache>
            </c:strRef>
          </c:tx>
          <c:spPr>
            <a:solidFill>
              <a:srgbClr val="7F131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J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Series 10</c:v>
                </c:pt>
              </c:strCache>
            </c:strRef>
          </c:tx>
          <c:spPr>
            <a:solidFill>
              <a:srgbClr val="F0B71F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K$2</c:f>
              <c:numCache>
                <c:formatCode>General</c:formatCode>
                <c:ptCount val="1"/>
                <c:pt idx="0">
                  <c:v>5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78188544"/>
        <c:axId val="78190080"/>
      </c:barChart>
      <c:catAx>
        <c:axId val="78188544"/>
        <c:scaling>
          <c:orientation val="minMax"/>
        </c:scaling>
        <c:delete val="1"/>
        <c:axPos val="b"/>
        <c:majorTickMark val="none"/>
        <c:minorTickMark val="none"/>
        <c:tickLblPos val="nextTo"/>
        <c:crossAx val="78190080"/>
        <c:crosses val="autoZero"/>
        <c:auto val="1"/>
        <c:lblAlgn val="ctr"/>
        <c:lblOffset val="100"/>
        <c:noMultiLvlLbl val="0"/>
      </c:catAx>
      <c:valAx>
        <c:axId val="781900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18854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2.9305516497937757E-2"/>
          <c:y val="0.76311230832987986"/>
          <c:w val="0.93692468128983863"/>
          <c:h val="0.23688769167012019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B03295-CFF6-4163-9274-65A429D16DC5}" type="datetimeFigureOut">
              <a:rPr lang="en-US" smtClean="0"/>
              <a:t>10/9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F5EAC7-B539-4B7A-A3B0-5BD8C07125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8617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FF8C83-6159-4B7D-992A-C8A69595BDED}" type="datetimeFigureOut">
              <a:rPr lang="en-US" smtClean="0"/>
              <a:pPr/>
              <a:t>10/9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41BE45-F5C9-4F77-88C9-6F63395421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0233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ent has been provided by the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or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260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938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5842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252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110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845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006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794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157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093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08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96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883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3505200" y="635969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COMPANY NAME</a:t>
            </a:r>
          </a:p>
        </p:txBody>
      </p:sp>
      <p:sp>
        <p:nvSpPr>
          <p:cNvPr id="10" name="Slide Number Placeholder 3"/>
          <p:cNvSpPr txBox="1">
            <a:spLocks/>
          </p:cNvSpPr>
          <p:nvPr userDrawn="1"/>
        </p:nvSpPr>
        <p:spPr>
          <a:xfrm>
            <a:off x="6751865" y="634488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smtClean="0">
                <a:solidFill>
                  <a:srgbClr val="A6A6A6"/>
                </a:solidFill>
              </a:rPr>
              <a:t>NAM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60526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782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FFFFFF"/>
              </a:gs>
              <a:gs pos="1000">
                <a:srgbClr val="F2F2F2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" y="3848099"/>
            <a:ext cx="9144000" cy="3008314"/>
          </a:xfrm>
          <a:prstGeom prst="rect">
            <a:avLst/>
          </a:prstGeom>
          <a:solidFill>
            <a:srgbClr val="F2F2F2">
              <a:alpha val="4862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745" y="3804780"/>
            <a:ext cx="9126511" cy="0"/>
          </a:xfrm>
          <a:prstGeom prst="line">
            <a:avLst/>
          </a:prstGeom>
          <a:ln>
            <a:gradFill>
              <a:gsLst>
                <a:gs pos="0">
                  <a:srgbClr val="F2F2F2">
                    <a:alpha val="0"/>
                  </a:srgbClr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0" scaled="0"/>
            </a:gradFill>
          </a:ln>
          <a:effectLst>
            <a:outerShdw blurRad="40000" dist="20000" dir="5400000" sx="102000" sy="102000" rotWithShape="0">
              <a:srgbClr val="000000">
                <a:alpha val="16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78" r:id="rId3"/>
    <p:sldLayoutId id="2147483663" r:id="rId4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Box 72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74" name="Straight Connector 73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Slide Number Placeholder 6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</a:t>
            </a:fld>
            <a:r>
              <a:rPr lang="en-US" dirty="0" smtClean="0"/>
              <a:t> I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057400" y="1734680"/>
            <a:ext cx="5029200" cy="2667000"/>
            <a:chOff x="1447800" y="1600200"/>
            <a:chExt cx="5029200" cy="2667000"/>
          </a:xfrm>
          <a:scene3d>
            <a:camera prst="isometricOffAxis2Left"/>
            <a:lightRig rig="threePt" dir="t"/>
          </a:scene3d>
        </p:grpSpPr>
        <p:sp>
          <p:nvSpPr>
            <p:cNvPr id="7" name="Rectangle 6"/>
            <p:cNvSpPr/>
            <p:nvPr/>
          </p:nvSpPr>
          <p:spPr>
            <a:xfrm>
              <a:off x="1447800" y="1600200"/>
              <a:ext cx="5029200" cy="2667000"/>
            </a:xfrm>
            <a:prstGeom prst="rect">
              <a:avLst/>
            </a:prstGeom>
            <a:noFill/>
            <a:ln>
              <a:solidFill>
                <a:srgbClr val="D5D5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780903" y="1600200"/>
              <a:ext cx="4362994" cy="2667000"/>
              <a:chOff x="1828800" y="1600200"/>
              <a:chExt cx="4362994" cy="2819400"/>
            </a:xfrm>
          </p:grpSpPr>
          <p:cxnSp>
            <p:nvCxnSpPr>
              <p:cNvPr id="9" name="Straight Connector 8"/>
              <p:cNvCxnSpPr/>
              <p:nvPr/>
            </p:nvCxnSpPr>
            <p:spPr>
              <a:xfrm>
                <a:off x="182880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/>
              <p:cNvCxnSpPr/>
              <p:nvPr/>
            </p:nvCxnSpPr>
            <p:spPr>
              <a:xfrm>
                <a:off x="216441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/>
            </p:nvCxnSpPr>
            <p:spPr>
              <a:xfrm>
                <a:off x="250003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>
                <a:off x="283564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/>
            </p:nvCxnSpPr>
            <p:spPr>
              <a:xfrm>
                <a:off x="317126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/>
            </p:nvCxnSpPr>
            <p:spPr>
              <a:xfrm>
                <a:off x="350687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/>
            </p:nvCxnSpPr>
            <p:spPr>
              <a:xfrm>
                <a:off x="384249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/>
            </p:nvCxnSpPr>
            <p:spPr>
              <a:xfrm>
                <a:off x="417810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>
                <a:off x="451372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/>
            </p:nvCxnSpPr>
            <p:spPr>
              <a:xfrm>
                <a:off x="484933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>
                <a:off x="518495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>
                <a:off x="552056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>
                <a:off x="585618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>
                <a:off x="6191794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/>
          </p:nvGrpSpPr>
          <p:grpSpPr>
            <a:xfrm rot="5400000">
              <a:off x="2955555" y="419100"/>
              <a:ext cx="2013690" cy="5029200"/>
              <a:chOff x="1828800" y="1600200"/>
              <a:chExt cx="2013690" cy="2819400"/>
            </a:xfrm>
          </p:grpSpPr>
          <p:cxnSp>
            <p:nvCxnSpPr>
              <p:cNvPr id="58" name="Straight Connector 57"/>
              <p:cNvCxnSpPr/>
              <p:nvPr/>
            </p:nvCxnSpPr>
            <p:spPr>
              <a:xfrm>
                <a:off x="182880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>
                <a:off x="216441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250003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>
                <a:off x="283564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>
                <a:off x="317126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>
                <a:off x="350687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>
                <a:off x="384249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8" name="Group 77"/>
          <p:cNvGrpSpPr/>
          <p:nvPr/>
        </p:nvGrpSpPr>
        <p:grpSpPr>
          <a:xfrm>
            <a:off x="1844855" y="1796113"/>
            <a:ext cx="5504134" cy="2784939"/>
            <a:chOff x="1249363" y="1747838"/>
            <a:chExt cx="6645275" cy="3362325"/>
          </a:xfrm>
        </p:grpSpPr>
        <p:sp>
          <p:nvSpPr>
            <p:cNvPr id="15" name="Freeform 5"/>
            <p:cNvSpPr>
              <a:spLocks/>
            </p:cNvSpPr>
            <p:nvPr/>
          </p:nvSpPr>
          <p:spPr bwMode="auto">
            <a:xfrm>
              <a:off x="1249363" y="1747838"/>
              <a:ext cx="6426200" cy="3362325"/>
            </a:xfrm>
            <a:custGeom>
              <a:avLst/>
              <a:gdLst>
                <a:gd name="T0" fmla="*/ 0 w 4048"/>
                <a:gd name="T1" fmla="*/ 1522 h 2118"/>
                <a:gd name="T2" fmla="*/ 244 w 4048"/>
                <a:gd name="T3" fmla="*/ 930 h 2118"/>
                <a:gd name="T4" fmla="*/ 522 w 4048"/>
                <a:gd name="T5" fmla="*/ 1348 h 2118"/>
                <a:gd name="T6" fmla="*/ 888 w 4048"/>
                <a:gd name="T7" fmla="*/ 820 h 2118"/>
                <a:gd name="T8" fmla="*/ 1388 w 4048"/>
                <a:gd name="T9" fmla="*/ 1690 h 2118"/>
                <a:gd name="T10" fmla="*/ 2884 w 4048"/>
                <a:gd name="T11" fmla="*/ 622 h 2118"/>
                <a:gd name="T12" fmla="*/ 2716 w 4048"/>
                <a:gd name="T13" fmla="*/ 286 h 2118"/>
                <a:gd name="T14" fmla="*/ 4048 w 4048"/>
                <a:gd name="T15" fmla="*/ 0 h 2118"/>
                <a:gd name="T16" fmla="*/ 3254 w 4048"/>
                <a:gd name="T17" fmla="*/ 1362 h 2118"/>
                <a:gd name="T18" fmla="*/ 3024 w 4048"/>
                <a:gd name="T19" fmla="*/ 940 h 2118"/>
                <a:gd name="T20" fmla="*/ 1430 w 4048"/>
                <a:gd name="T21" fmla="*/ 2118 h 2118"/>
                <a:gd name="T22" fmla="*/ 894 w 4048"/>
                <a:gd name="T23" fmla="*/ 1198 h 2118"/>
                <a:gd name="T24" fmla="*/ 568 w 4048"/>
                <a:gd name="T25" fmla="*/ 1658 h 2118"/>
                <a:gd name="T26" fmla="*/ 302 w 4048"/>
                <a:gd name="T27" fmla="*/ 1342 h 2118"/>
                <a:gd name="T28" fmla="*/ 192 w 4048"/>
                <a:gd name="T29" fmla="*/ 1600 h 2118"/>
                <a:gd name="T30" fmla="*/ 0 w 4048"/>
                <a:gd name="T31" fmla="*/ 1522 h 2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48" h="2118">
                  <a:moveTo>
                    <a:pt x="0" y="1522"/>
                  </a:moveTo>
                  <a:lnTo>
                    <a:pt x="244" y="930"/>
                  </a:lnTo>
                  <a:lnTo>
                    <a:pt x="522" y="1348"/>
                  </a:lnTo>
                  <a:lnTo>
                    <a:pt x="888" y="820"/>
                  </a:lnTo>
                  <a:lnTo>
                    <a:pt x="1388" y="1690"/>
                  </a:lnTo>
                  <a:lnTo>
                    <a:pt x="2884" y="622"/>
                  </a:lnTo>
                  <a:lnTo>
                    <a:pt x="2716" y="286"/>
                  </a:lnTo>
                  <a:lnTo>
                    <a:pt x="4048" y="0"/>
                  </a:lnTo>
                  <a:lnTo>
                    <a:pt x="3254" y="1362"/>
                  </a:lnTo>
                  <a:lnTo>
                    <a:pt x="3024" y="940"/>
                  </a:lnTo>
                  <a:lnTo>
                    <a:pt x="1430" y="2118"/>
                  </a:lnTo>
                  <a:lnTo>
                    <a:pt x="894" y="1198"/>
                  </a:lnTo>
                  <a:lnTo>
                    <a:pt x="568" y="1658"/>
                  </a:lnTo>
                  <a:lnTo>
                    <a:pt x="302" y="1342"/>
                  </a:lnTo>
                  <a:lnTo>
                    <a:pt x="192" y="1600"/>
                  </a:lnTo>
                  <a:lnTo>
                    <a:pt x="0" y="1522"/>
                  </a:lnTo>
                  <a:close/>
                </a:path>
              </a:pathLst>
            </a:cu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latin typeface="+mj-lt"/>
              </a:endParaRPr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636713" y="3195638"/>
              <a:ext cx="568325" cy="692150"/>
            </a:xfrm>
            <a:custGeom>
              <a:avLst/>
              <a:gdLst>
                <a:gd name="T0" fmla="*/ 0 w 358"/>
                <a:gd name="T1" fmla="*/ 18 h 436"/>
                <a:gd name="T2" fmla="*/ 116 w 358"/>
                <a:gd name="T3" fmla="*/ 0 h 436"/>
                <a:gd name="T4" fmla="*/ 358 w 358"/>
                <a:gd name="T5" fmla="*/ 318 h 436"/>
                <a:gd name="T6" fmla="*/ 278 w 358"/>
                <a:gd name="T7" fmla="*/ 436 h 436"/>
                <a:gd name="T8" fmla="*/ 0 w 358"/>
                <a:gd name="T9" fmla="*/ 18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436">
                  <a:moveTo>
                    <a:pt x="0" y="18"/>
                  </a:moveTo>
                  <a:lnTo>
                    <a:pt x="116" y="0"/>
                  </a:lnTo>
                  <a:lnTo>
                    <a:pt x="358" y="318"/>
                  </a:lnTo>
                  <a:lnTo>
                    <a:pt x="278" y="43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/>
            </p:cNvSpPr>
            <p:nvPr/>
          </p:nvSpPr>
          <p:spPr bwMode="auto">
            <a:xfrm>
              <a:off x="2659063" y="3001963"/>
              <a:ext cx="1000125" cy="1428750"/>
            </a:xfrm>
            <a:custGeom>
              <a:avLst/>
              <a:gdLst>
                <a:gd name="T0" fmla="*/ 0 w 630"/>
                <a:gd name="T1" fmla="*/ 30 h 900"/>
                <a:gd name="T2" fmla="*/ 138 w 630"/>
                <a:gd name="T3" fmla="*/ 0 h 900"/>
                <a:gd name="T4" fmla="*/ 630 w 630"/>
                <a:gd name="T5" fmla="*/ 806 h 900"/>
                <a:gd name="T6" fmla="*/ 500 w 630"/>
                <a:gd name="T7" fmla="*/ 900 h 900"/>
                <a:gd name="T8" fmla="*/ 0 w 630"/>
                <a:gd name="T9" fmla="*/ 3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900">
                  <a:moveTo>
                    <a:pt x="0" y="30"/>
                  </a:moveTo>
                  <a:lnTo>
                    <a:pt x="138" y="0"/>
                  </a:lnTo>
                  <a:lnTo>
                    <a:pt x="630" y="806"/>
                  </a:lnTo>
                  <a:lnTo>
                    <a:pt x="500" y="90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/>
            <p:cNvSpPr>
              <a:spLocks/>
            </p:cNvSpPr>
            <p:nvPr/>
          </p:nvSpPr>
          <p:spPr bwMode="auto">
            <a:xfrm>
              <a:off x="6415088" y="1747838"/>
              <a:ext cx="1479550" cy="2162175"/>
            </a:xfrm>
            <a:custGeom>
              <a:avLst/>
              <a:gdLst>
                <a:gd name="T0" fmla="*/ 794 w 932"/>
                <a:gd name="T1" fmla="*/ 0 h 1362"/>
                <a:gd name="T2" fmla="*/ 932 w 932"/>
                <a:gd name="T3" fmla="*/ 0 h 1362"/>
                <a:gd name="T4" fmla="*/ 142 w 932"/>
                <a:gd name="T5" fmla="*/ 1356 h 1362"/>
                <a:gd name="T6" fmla="*/ 0 w 932"/>
                <a:gd name="T7" fmla="*/ 1362 h 1362"/>
                <a:gd name="T8" fmla="*/ 794 w 932"/>
                <a:gd name="T9" fmla="*/ 0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2" h="1362">
                  <a:moveTo>
                    <a:pt x="794" y="0"/>
                  </a:moveTo>
                  <a:lnTo>
                    <a:pt x="932" y="0"/>
                  </a:lnTo>
                  <a:lnTo>
                    <a:pt x="142" y="1356"/>
                  </a:lnTo>
                  <a:lnTo>
                    <a:pt x="0" y="1362"/>
                  </a:lnTo>
                  <a:lnTo>
                    <a:pt x="794" y="0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9"/>
            <p:cNvSpPr>
              <a:spLocks/>
            </p:cNvSpPr>
            <p:nvPr/>
          </p:nvSpPr>
          <p:spPr bwMode="auto">
            <a:xfrm>
              <a:off x="3519488" y="3240088"/>
              <a:ext cx="2613025" cy="1870075"/>
            </a:xfrm>
            <a:custGeom>
              <a:avLst/>
              <a:gdLst>
                <a:gd name="T0" fmla="*/ 0 w 1646"/>
                <a:gd name="T1" fmla="*/ 1178 h 1178"/>
                <a:gd name="T2" fmla="*/ 116 w 1646"/>
                <a:gd name="T3" fmla="*/ 1160 h 1178"/>
                <a:gd name="T4" fmla="*/ 1646 w 1646"/>
                <a:gd name="T5" fmla="*/ 96 h 1178"/>
                <a:gd name="T6" fmla="*/ 1594 w 1646"/>
                <a:gd name="T7" fmla="*/ 0 h 1178"/>
                <a:gd name="T8" fmla="*/ 0 w 1646"/>
                <a:gd name="T9" fmla="*/ 1178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6" h="1178">
                  <a:moveTo>
                    <a:pt x="0" y="1178"/>
                  </a:moveTo>
                  <a:lnTo>
                    <a:pt x="116" y="1160"/>
                  </a:lnTo>
                  <a:lnTo>
                    <a:pt x="1646" y="96"/>
                  </a:lnTo>
                  <a:lnTo>
                    <a:pt x="1594" y="0"/>
                  </a:lnTo>
                  <a:lnTo>
                    <a:pt x="0" y="1178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0"/>
            <p:cNvSpPr>
              <a:spLocks/>
            </p:cNvSpPr>
            <p:nvPr/>
          </p:nvSpPr>
          <p:spPr bwMode="auto">
            <a:xfrm>
              <a:off x="2151063" y="3649663"/>
              <a:ext cx="609600" cy="730250"/>
            </a:xfrm>
            <a:custGeom>
              <a:avLst/>
              <a:gdLst>
                <a:gd name="T0" fmla="*/ 0 w 384"/>
                <a:gd name="T1" fmla="*/ 460 h 460"/>
                <a:gd name="T2" fmla="*/ 128 w 384"/>
                <a:gd name="T3" fmla="*/ 452 h 460"/>
                <a:gd name="T4" fmla="*/ 384 w 384"/>
                <a:gd name="T5" fmla="*/ 100 h 460"/>
                <a:gd name="T6" fmla="*/ 326 w 384"/>
                <a:gd name="T7" fmla="*/ 0 h 460"/>
                <a:gd name="T8" fmla="*/ 0 w 384"/>
                <a:gd name="T9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4" h="460">
                  <a:moveTo>
                    <a:pt x="0" y="460"/>
                  </a:moveTo>
                  <a:lnTo>
                    <a:pt x="128" y="452"/>
                  </a:lnTo>
                  <a:lnTo>
                    <a:pt x="384" y="100"/>
                  </a:lnTo>
                  <a:lnTo>
                    <a:pt x="326" y="0"/>
                  </a:lnTo>
                  <a:lnTo>
                    <a:pt x="0" y="460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1"/>
            <p:cNvSpPr>
              <a:spLocks/>
            </p:cNvSpPr>
            <p:nvPr/>
          </p:nvSpPr>
          <p:spPr bwMode="auto">
            <a:xfrm>
              <a:off x="1554163" y="3878263"/>
              <a:ext cx="298450" cy="409575"/>
            </a:xfrm>
            <a:custGeom>
              <a:avLst/>
              <a:gdLst>
                <a:gd name="T0" fmla="*/ 0 w 188"/>
                <a:gd name="T1" fmla="*/ 258 h 258"/>
                <a:gd name="T2" fmla="*/ 130 w 188"/>
                <a:gd name="T3" fmla="*/ 230 h 258"/>
                <a:gd name="T4" fmla="*/ 188 w 188"/>
                <a:gd name="T5" fmla="*/ 92 h 258"/>
                <a:gd name="T6" fmla="*/ 110 w 188"/>
                <a:gd name="T7" fmla="*/ 0 h 258"/>
                <a:gd name="T8" fmla="*/ 0 w 188"/>
                <a:gd name="T9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258">
                  <a:moveTo>
                    <a:pt x="0" y="258"/>
                  </a:moveTo>
                  <a:lnTo>
                    <a:pt x="130" y="230"/>
                  </a:lnTo>
                  <a:lnTo>
                    <a:pt x="188" y="92"/>
                  </a:lnTo>
                  <a:lnTo>
                    <a:pt x="110" y="0"/>
                  </a:lnTo>
                  <a:lnTo>
                    <a:pt x="0" y="258"/>
                  </a:lnTo>
                  <a:close/>
                </a:path>
              </a:pathLst>
            </a:custGeom>
            <a:solidFill>
              <a:srgbClr val="09497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9" name="Rectangle 78"/>
          <p:cNvSpPr/>
          <p:nvPr/>
        </p:nvSpPr>
        <p:spPr>
          <a:xfrm rot="5400000">
            <a:off x="1558702" y="5250209"/>
            <a:ext cx="761999" cy="167585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140786" y="5010836"/>
            <a:ext cx="204034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sp>
        <p:nvSpPr>
          <p:cNvPr id="81" name="Rectangle 80"/>
          <p:cNvSpPr/>
          <p:nvPr/>
        </p:nvSpPr>
        <p:spPr>
          <a:xfrm rot="5400000">
            <a:off x="4752068" y="5250209"/>
            <a:ext cx="761999" cy="167585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5334152" y="5010836"/>
            <a:ext cx="204034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2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97" name="TextBox 96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98" name="Straight Connector 97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/>
          <p:cNvGrpSpPr/>
          <p:nvPr/>
        </p:nvGrpSpPr>
        <p:grpSpPr>
          <a:xfrm>
            <a:off x="500833" y="2206025"/>
            <a:ext cx="5520749" cy="2927670"/>
            <a:chOff x="1447800" y="1600200"/>
            <a:chExt cx="5029200" cy="2667000"/>
          </a:xfrm>
        </p:grpSpPr>
        <p:sp>
          <p:nvSpPr>
            <p:cNvPr id="134" name="Rectangle 133"/>
            <p:cNvSpPr/>
            <p:nvPr/>
          </p:nvSpPr>
          <p:spPr>
            <a:xfrm>
              <a:off x="1447800" y="1600200"/>
              <a:ext cx="5029200" cy="266700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5" name="Group 134"/>
            <p:cNvGrpSpPr/>
            <p:nvPr/>
          </p:nvGrpSpPr>
          <p:grpSpPr>
            <a:xfrm>
              <a:off x="1780903" y="1600200"/>
              <a:ext cx="4362994" cy="2667000"/>
              <a:chOff x="1828800" y="1600200"/>
              <a:chExt cx="4362994" cy="2819400"/>
            </a:xfrm>
          </p:grpSpPr>
          <p:cxnSp>
            <p:nvCxnSpPr>
              <p:cNvPr id="144" name="Straight Connector 143"/>
              <p:cNvCxnSpPr/>
              <p:nvPr/>
            </p:nvCxnSpPr>
            <p:spPr>
              <a:xfrm>
                <a:off x="182880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>
                <a:off x="216441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250003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>
                <a:off x="283564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/>
            </p:nvCxnSpPr>
            <p:spPr>
              <a:xfrm>
                <a:off x="317126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/>
            </p:nvCxnSpPr>
            <p:spPr>
              <a:xfrm>
                <a:off x="350687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/>
            </p:nvCxnSpPr>
            <p:spPr>
              <a:xfrm>
                <a:off x="384249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/>
            </p:nvCxnSpPr>
            <p:spPr>
              <a:xfrm>
                <a:off x="417810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451372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>
                <a:off x="484933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518495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/>
            </p:nvCxnSpPr>
            <p:spPr>
              <a:xfrm>
                <a:off x="552056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585618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>
                <a:off x="6191794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6" name="Group 135"/>
            <p:cNvGrpSpPr/>
            <p:nvPr/>
          </p:nvGrpSpPr>
          <p:grpSpPr>
            <a:xfrm rot="5400000">
              <a:off x="2955555" y="419100"/>
              <a:ext cx="2013690" cy="5029200"/>
              <a:chOff x="1828800" y="1600200"/>
              <a:chExt cx="2013690" cy="2819400"/>
            </a:xfrm>
          </p:grpSpPr>
          <p:cxnSp>
            <p:nvCxnSpPr>
              <p:cNvPr id="137" name="Straight Connector 136"/>
              <p:cNvCxnSpPr/>
              <p:nvPr/>
            </p:nvCxnSpPr>
            <p:spPr>
              <a:xfrm>
                <a:off x="182880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216441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250003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283564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317126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3506875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3842490" y="1600200"/>
                <a:ext cx="0" cy="2819400"/>
              </a:xfrm>
              <a:prstGeom prst="line">
                <a:avLst/>
              </a:prstGeom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1" name="Group 100"/>
          <p:cNvGrpSpPr/>
          <p:nvPr/>
        </p:nvGrpSpPr>
        <p:grpSpPr>
          <a:xfrm>
            <a:off x="6424497" y="1961373"/>
            <a:ext cx="2325222" cy="761999"/>
            <a:chOff x="6268323" y="1933529"/>
            <a:chExt cx="2325222" cy="761999"/>
          </a:xfrm>
        </p:grpSpPr>
        <p:sp>
          <p:nvSpPr>
            <p:cNvPr id="132" name="Rectangle 131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6424497" y="3272013"/>
            <a:ext cx="2325222" cy="761999"/>
            <a:chOff x="6268323" y="3183209"/>
            <a:chExt cx="2325222" cy="761999"/>
          </a:xfrm>
        </p:grpSpPr>
        <p:sp>
          <p:nvSpPr>
            <p:cNvPr id="130" name="Rectangle 129"/>
            <p:cNvSpPr/>
            <p:nvPr/>
          </p:nvSpPr>
          <p:spPr>
            <a:xfrm rot="5400000">
              <a:off x="5971116" y="3480416"/>
              <a:ext cx="761999" cy="1675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6553200" y="324104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6424497" y="4582653"/>
            <a:ext cx="2325222" cy="761999"/>
            <a:chOff x="6268323" y="4554809"/>
            <a:chExt cx="2325222" cy="761999"/>
          </a:xfrm>
        </p:grpSpPr>
        <p:sp>
          <p:nvSpPr>
            <p:cNvPr id="128" name="Rectangle 127"/>
            <p:cNvSpPr/>
            <p:nvPr/>
          </p:nvSpPr>
          <p:spPr>
            <a:xfrm rot="5400000">
              <a:off x="5971116" y="4852016"/>
              <a:ext cx="761999" cy="16758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6553200" y="461264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104" name="Group 103"/>
          <p:cNvGrpSpPr/>
          <p:nvPr/>
        </p:nvGrpSpPr>
        <p:grpSpPr>
          <a:xfrm rot="20933735" flipV="1">
            <a:off x="320097" y="3065329"/>
            <a:ext cx="5107832" cy="1609332"/>
            <a:chOff x="1831010" y="2438573"/>
            <a:chExt cx="5107832" cy="1609332"/>
          </a:xfrm>
        </p:grpSpPr>
        <p:cxnSp>
          <p:nvCxnSpPr>
            <p:cNvPr id="121" name="Straight Connector 120"/>
            <p:cNvCxnSpPr/>
            <p:nvPr/>
          </p:nvCxnSpPr>
          <p:spPr>
            <a:xfrm rot="20996301">
              <a:off x="1831010" y="2438573"/>
              <a:ext cx="921326" cy="848836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V="1">
              <a:off x="2769937" y="2705100"/>
              <a:ext cx="506663" cy="471237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3200400" y="2705100"/>
              <a:ext cx="1371600" cy="1034310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 flipV="1">
              <a:off x="4523874" y="3208421"/>
              <a:ext cx="620294" cy="513347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/>
          </p:nvCxnSpPr>
          <p:spPr>
            <a:xfrm rot="20996301">
              <a:off x="5121934" y="3142925"/>
              <a:ext cx="606388" cy="585820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/>
          </p:nvCxnSpPr>
          <p:spPr>
            <a:xfrm rot="20996301" flipV="1">
              <a:off x="5677763" y="3468949"/>
              <a:ext cx="756090" cy="116264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rot="20996301">
              <a:off x="6412621" y="3376533"/>
              <a:ext cx="526221" cy="671372"/>
            </a:xfrm>
            <a:prstGeom prst="line">
              <a:avLst/>
            </a:prstGeom>
            <a:ln w="101600">
              <a:solidFill>
                <a:srgbClr val="0D65A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/>
          <p:cNvGrpSpPr/>
          <p:nvPr/>
        </p:nvGrpSpPr>
        <p:grpSpPr>
          <a:xfrm rot="21415612" flipV="1">
            <a:off x="464340" y="3447002"/>
            <a:ext cx="5107832" cy="1609332"/>
            <a:chOff x="1831010" y="2438573"/>
            <a:chExt cx="5107832" cy="1609332"/>
          </a:xfrm>
        </p:grpSpPr>
        <p:cxnSp>
          <p:nvCxnSpPr>
            <p:cNvPr id="114" name="Straight Connector 113"/>
            <p:cNvCxnSpPr/>
            <p:nvPr/>
          </p:nvCxnSpPr>
          <p:spPr>
            <a:xfrm rot="20996301">
              <a:off x="1831010" y="2438573"/>
              <a:ext cx="921326" cy="848836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 flipV="1">
              <a:off x="2769937" y="2705100"/>
              <a:ext cx="506663" cy="471237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3200400" y="2705100"/>
              <a:ext cx="1371600" cy="1034310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 flipV="1">
              <a:off x="4523874" y="3208421"/>
              <a:ext cx="620294" cy="513347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 rot="20996301">
              <a:off x="5121934" y="3142925"/>
              <a:ext cx="606388" cy="585820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 rot="20996301" flipV="1">
              <a:off x="5677763" y="3468949"/>
              <a:ext cx="756090" cy="116264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 rot="20996301">
              <a:off x="6412621" y="3376533"/>
              <a:ext cx="526221" cy="671372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05"/>
          <p:cNvGrpSpPr/>
          <p:nvPr/>
        </p:nvGrpSpPr>
        <p:grpSpPr>
          <a:xfrm rot="288088" flipV="1">
            <a:off x="575640" y="3770164"/>
            <a:ext cx="5107832" cy="1609332"/>
            <a:chOff x="1831010" y="2438573"/>
            <a:chExt cx="5107832" cy="1609332"/>
          </a:xfrm>
        </p:grpSpPr>
        <p:cxnSp>
          <p:nvCxnSpPr>
            <p:cNvPr id="107" name="Straight Connector 106"/>
            <p:cNvCxnSpPr/>
            <p:nvPr/>
          </p:nvCxnSpPr>
          <p:spPr>
            <a:xfrm rot="20996301">
              <a:off x="1831010" y="2438573"/>
              <a:ext cx="921326" cy="848836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 flipV="1">
              <a:off x="2769937" y="2705100"/>
              <a:ext cx="506663" cy="471237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3200400" y="2705100"/>
              <a:ext cx="1371600" cy="1034310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 flipV="1">
              <a:off x="4523874" y="3208421"/>
              <a:ext cx="620294" cy="513347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 rot="20996301">
              <a:off x="5121934" y="3142925"/>
              <a:ext cx="606388" cy="585820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 rot="20996301" flipV="1">
              <a:off x="5677763" y="3468949"/>
              <a:ext cx="756090" cy="116264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 rot="20996301">
              <a:off x="6412621" y="3376533"/>
              <a:ext cx="526221" cy="671372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solidFill>
                  <a:schemeClr val="bg1"/>
                </a:solidFill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solidFill>
                  <a:schemeClr val="bg1"/>
                </a:solidFill>
                <a:latin typeface="+mj-lt"/>
              </a:rPr>
              <a:t>Replace this text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/>
          <p:nvPr/>
        </p:nvGrpSpPr>
        <p:grpSpPr>
          <a:xfrm>
            <a:off x="1524000" y="4876800"/>
            <a:ext cx="2793170" cy="836261"/>
            <a:chOff x="5181600" y="1927214"/>
            <a:chExt cx="2793170" cy="836261"/>
          </a:xfrm>
        </p:grpSpPr>
        <p:sp>
          <p:nvSpPr>
            <p:cNvPr id="76" name="TextBox 75"/>
            <p:cNvSpPr txBox="1"/>
            <p:nvPr/>
          </p:nvSpPr>
          <p:spPr>
            <a:xfrm>
              <a:off x="5181600" y="2209477"/>
              <a:ext cx="2793170" cy="553998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/>
          </p:spPr>
          <p:txBody>
            <a:bodyPr wrap="square" tIns="91440" bIns="91440" anchor="ctr">
              <a:spAutoFit/>
            </a:bodyPr>
            <a:lstStyle>
              <a:defPPr>
                <a:defRPr lang="en-US"/>
              </a:defPPr>
              <a:lvl1pPr>
                <a:defRPr sz="1200">
                  <a:latin typeface="+mj-lt"/>
                </a:defRPr>
              </a:lvl1pPr>
            </a:lstStyle>
            <a:p>
              <a:r>
                <a:rPr lang="en-US" b="1" dirty="0" err="1"/>
                <a:t>Lorem</a:t>
              </a:r>
              <a:r>
                <a:rPr lang="en-US" b="1" dirty="0"/>
                <a:t> </a:t>
              </a:r>
              <a:r>
                <a:rPr lang="en-US" b="1" dirty="0" err="1"/>
                <a:t>Ipsum</a:t>
              </a:r>
              <a:r>
                <a:rPr lang="en-US" b="1" dirty="0"/>
                <a:t> </a:t>
              </a:r>
              <a:r>
                <a:rPr lang="en-US" dirty="0"/>
                <a:t>is simply dummy text of the printing and typesetting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5181600" y="1927214"/>
              <a:ext cx="2793170" cy="276999"/>
            </a:xfrm>
            <a:prstGeom prst="rect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tIns="45720" bIns="45720" rtlCol="0" anchor="ctr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Example Text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4786621" y="4876800"/>
            <a:ext cx="2793170" cy="836261"/>
            <a:chOff x="5181600" y="1927214"/>
            <a:chExt cx="2793170" cy="836261"/>
          </a:xfrm>
        </p:grpSpPr>
        <p:sp>
          <p:nvSpPr>
            <p:cNvPr id="79" name="TextBox 78"/>
            <p:cNvSpPr txBox="1"/>
            <p:nvPr/>
          </p:nvSpPr>
          <p:spPr>
            <a:xfrm>
              <a:off x="5181600" y="2209477"/>
              <a:ext cx="2793170" cy="553998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/>
          </p:spPr>
          <p:txBody>
            <a:bodyPr wrap="square" tIns="91440" bIns="91440" anchor="ctr">
              <a:spAutoFit/>
            </a:bodyPr>
            <a:lstStyle>
              <a:defPPr>
                <a:defRPr lang="en-US"/>
              </a:defPPr>
              <a:lvl1pPr>
                <a:defRPr sz="1200">
                  <a:latin typeface="+mj-lt"/>
                </a:defRPr>
              </a:lvl1pPr>
            </a:lstStyle>
            <a:p>
              <a:r>
                <a:rPr lang="en-US" b="1" dirty="0" err="1"/>
                <a:t>Lorem</a:t>
              </a:r>
              <a:r>
                <a:rPr lang="en-US" b="1" dirty="0"/>
                <a:t> </a:t>
              </a:r>
              <a:r>
                <a:rPr lang="en-US" b="1" dirty="0" err="1"/>
                <a:t>Ipsum</a:t>
              </a:r>
              <a:r>
                <a:rPr lang="en-US" b="1" dirty="0"/>
                <a:t> </a:t>
              </a:r>
              <a:r>
                <a:rPr lang="en-US" dirty="0"/>
                <a:t>is simply dummy text of the printing and typesetting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181600" y="1927214"/>
              <a:ext cx="2793170" cy="276999"/>
            </a:xfrm>
            <a:prstGeom prst="rect">
              <a:avLst/>
            </a:pr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tIns="45720" bIns="45720" rtlCol="0" anchor="ctr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Example Text</a:t>
              </a: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1998817" y="1734680"/>
            <a:ext cx="5146366" cy="2667000"/>
            <a:chOff x="2057400" y="1734680"/>
            <a:chExt cx="5146366" cy="2667000"/>
          </a:xfrm>
        </p:grpSpPr>
        <p:grpSp>
          <p:nvGrpSpPr>
            <p:cNvPr id="81" name="Group 80"/>
            <p:cNvGrpSpPr/>
            <p:nvPr/>
          </p:nvGrpSpPr>
          <p:grpSpPr>
            <a:xfrm>
              <a:off x="2057400" y="1734680"/>
              <a:ext cx="5029200" cy="2667000"/>
              <a:chOff x="1447800" y="1600200"/>
              <a:chExt cx="5029200" cy="2667000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1447800" y="1600200"/>
                <a:ext cx="5029200" cy="2667000"/>
              </a:xfrm>
              <a:prstGeom prst="rect">
                <a:avLst/>
              </a:prstGeom>
              <a:noFill/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83" name="Group 82"/>
              <p:cNvGrpSpPr/>
              <p:nvPr/>
            </p:nvGrpSpPr>
            <p:grpSpPr>
              <a:xfrm>
                <a:off x="1780903" y="1600200"/>
                <a:ext cx="4362994" cy="2667000"/>
                <a:chOff x="1828800" y="1600200"/>
                <a:chExt cx="4362994" cy="2819400"/>
              </a:xfrm>
            </p:grpSpPr>
            <p:cxnSp>
              <p:nvCxnSpPr>
                <p:cNvPr id="92" name="Straight Connector 91"/>
                <p:cNvCxnSpPr/>
                <p:nvPr/>
              </p:nvCxnSpPr>
              <p:spPr>
                <a:xfrm>
                  <a:off x="182880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/>
                <p:cNvCxnSpPr/>
                <p:nvPr/>
              </p:nvCxnSpPr>
              <p:spPr>
                <a:xfrm>
                  <a:off x="216441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/>
                <p:cNvCxnSpPr/>
                <p:nvPr/>
              </p:nvCxnSpPr>
              <p:spPr>
                <a:xfrm>
                  <a:off x="250003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/>
                <p:cNvCxnSpPr/>
                <p:nvPr/>
              </p:nvCxnSpPr>
              <p:spPr>
                <a:xfrm>
                  <a:off x="283564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/>
                <p:cNvCxnSpPr/>
                <p:nvPr/>
              </p:nvCxnSpPr>
              <p:spPr>
                <a:xfrm>
                  <a:off x="317126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>
                  <a:off x="350687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97"/>
                <p:cNvCxnSpPr/>
                <p:nvPr/>
              </p:nvCxnSpPr>
              <p:spPr>
                <a:xfrm>
                  <a:off x="384249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98"/>
                <p:cNvCxnSpPr/>
                <p:nvPr/>
              </p:nvCxnSpPr>
              <p:spPr>
                <a:xfrm>
                  <a:off x="417810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/>
                <p:cNvCxnSpPr/>
                <p:nvPr/>
              </p:nvCxnSpPr>
              <p:spPr>
                <a:xfrm>
                  <a:off x="451372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00"/>
                <p:cNvCxnSpPr/>
                <p:nvPr/>
              </p:nvCxnSpPr>
              <p:spPr>
                <a:xfrm>
                  <a:off x="484933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/>
                <p:cNvCxnSpPr/>
                <p:nvPr/>
              </p:nvCxnSpPr>
              <p:spPr>
                <a:xfrm>
                  <a:off x="518495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>
                  <a:off x="552056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/>
                <p:cNvCxnSpPr/>
                <p:nvPr/>
              </p:nvCxnSpPr>
              <p:spPr>
                <a:xfrm>
                  <a:off x="585618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104"/>
                <p:cNvCxnSpPr/>
                <p:nvPr/>
              </p:nvCxnSpPr>
              <p:spPr>
                <a:xfrm>
                  <a:off x="6191794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" name="Group 83"/>
              <p:cNvGrpSpPr/>
              <p:nvPr/>
            </p:nvGrpSpPr>
            <p:grpSpPr>
              <a:xfrm rot="5400000">
                <a:off x="2955555" y="419100"/>
                <a:ext cx="2013690" cy="5029200"/>
                <a:chOff x="1828800" y="1600200"/>
                <a:chExt cx="2013690" cy="2819400"/>
              </a:xfrm>
            </p:grpSpPr>
            <p:cxnSp>
              <p:nvCxnSpPr>
                <p:cNvPr id="85" name="Straight Connector 84"/>
                <p:cNvCxnSpPr/>
                <p:nvPr/>
              </p:nvCxnSpPr>
              <p:spPr>
                <a:xfrm>
                  <a:off x="182880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/>
                <p:cNvCxnSpPr/>
                <p:nvPr/>
              </p:nvCxnSpPr>
              <p:spPr>
                <a:xfrm>
                  <a:off x="216441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/>
                <p:cNvCxnSpPr/>
                <p:nvPr/>
              </p:nvCxnSpPr>
              <p:spPr>
                <a:xfrm>
                  <a:off x="250003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87"/>
                <p:cNvCxnSpPr/>
                <p:nvPr/>
              </p:nvCxnSpPr>
              <p:spPr>
                <a:xfrm>
                  <a:off x="283564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/>
                <p:cNvCxnSpPr/>
                <p:nvPr/>
              </p:nvCxnSpPr>
              <p:spPr>
                <a:xfrm>
                  <a:off x="317126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Connector 89"/>
                <p:cNvCxnSpPr/>
                <p:nvPr/>
              </p:nvCxnSpPr>
              <p:spPr>
                <a:xfrm>
                  <a:off x="3506875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90"/>
                <p:cNvCxnSpPr/>
                <p:nvPr/>
              </p:nvCxnSpPr>
              <p:spPr>
                <a:xfrm>
                  <a:off x="3842490" y="1600200"/>
                  <a:ext cx="0" cy="2819400"/>
                </a:xfrm>
                <a:prstGeom prst="line">
                  <a:avLst/>
                </a:prstGeom>
                <a:ln w="28575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6" name="Group 105"/>
            <p:cNvGrpSpPr/>
            <p:nvPr/>
          </p:nvGrpSpPr>
          <p:grpSpPr>
            <a:xfrm>
              <a:off x="2194560" y="2599509"/>
              <a:ext cx="4739640" cy="1362891"/>
              <a:chOff x="2194560" y="2599509"/>
              <a:chExt cx="4739640" cy="1362891"/>
            </a:xfrm>
          </p:grpSpPr>
          <p:cxnSp>
            <p:nvCxnSpPr>
              <p:cNvPr id="107" name="Straight Connector 106"/>
              <p:cNvCxnSpPr/>
              <p:nvPr/>
            </p:nvCxnSpPr>
            <p:spPr>
              <a:xfrm>
                <a:off x="2194560" y="2599509"/>
                <a:ext cx="624840" cy="600891"/>
              </a:xfrm>
              <a:prstGeom prst="line">
                <a:avLst/>
              </a:prstGeom>
              <a:ln w="101600">
                <a:solidFill>
                  <a:srgbClr val="CE202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 flipV="1">
                <a:off x="2769937" y="2705100"/>
                <a:ext cx="506663" cy="471237"/>
              </a:xfrm>
              <a:prstGeom prst="line">
                <a:avLst/>
              </a:prstGeom>
              <a:ln w="101600">
                <a:solidFill>
                  <a:srgbClr val="CE202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>
                <a:off x="3200400" y="2705100"/>
                <a:ext cx="1371600" cy="1034310"/>
              </a:xfrm>
              <a:prstGeom prst="line">
                <a:avLst/>
              </a:prstGeom>
              <a:ln w="101600">
                <a:solidFill>
                  <a:srgbClr val="CE202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flipV="1">
                <a:off x="4523874" y="3208421"/>
                <a:ext cx="620294" cy="513347"/>
              </a:xfrm>
              <a:prstGeom prst="line">
                <a:avLst/>
              </a:prstGeom>
              <a:ln w="101600">
                <a:solidFill>
                  <a:srgbClr val="CE202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>
                <a:off x="5075423" y="3200400"/>
                <a:ext cx="975084" cy="762000"/>
              </a:xfrm>
              <a:prstGeom prst="line">
                <a:avLst/>
              </a:prstGeom>
              <a:ln w="101600">
                <a:solidFill>
                  <a:srgbClr val="CE202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/>
            </p:nvCxnSpPr>
            <p:spPr>
              <a:xfrm flipV="1">
                <a:off x="5970823" y="3403796"/>
                <a:ext cx="447060" cy="558604"/>
              </a:xfrm>
              <a:prstGeom prst="line">
                <a:avLst/>
              </a:prstGeom>
              <a:ln w="101600">
                <a:solidFill>
                  <a:srgbClr val="CE202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6358021" y="3427663"/>
                <a:ext cx="576179" cy="311748"/>
              </a:xfrm>
              <a:prstGeom prst="line">
                <a:avLst/>
              </a:prstGeom>
              <a:ln w="101600">
                <a:solidFill>
                  <a:srgbClr val="CE202A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oup 113"/>
            <p:cNvGrpSpPr/>
            <p:nvPr/>
          </p:nvGrpSpPr>
          <p:grpSpPr>
            <a:xfrm rot="20996301" flipV="1">
              <a:off x="2095934" y="2221809"/>
              <a:ext cx="5107832" cy="1609332"/>
              <a:chOff x="1831010" y="2438573"/>
              <a:chExt cx="5107832" cy="1609332"/>
            </a:xfrm>
          </p:grpSpPr>
          <p:cxnSp>
            <p:nvCxnSpPr>
              <p:cNvPr id="115" name="Straight Connector 114"/>
              <p:cNvCxnSpPr/>
              <p:nvPr/>
            </p:nvCxnSpPr>
            <p:spPr>
              <a:xfrm rot="20996301">
                <a:off x="1831010" y="2438573"/>
                <a:ext cx="921326" cy="848836"/>
              </a:xfrm>
              <a:prstGeom prst="line">
                <a:avLst/>
              </a:prstGeom>
              <a:ln w="101600">
                <a:solidFill>
                  <a:srgbClr val="2A9B1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/>
            </p:nvCxnSpPr>
            <p:spPr>
              <a:xfrm flipV="1">
                <a:off x="2769937" y="2705100"/>
                <a:ext cx="506663" cy="471237"/>
              </a:xfrm>
              <a:prstGeom prst="line">
                <a:avLst/>
              </a:prstGeom>
              <a:ln w="101600">
                <a:solidFill>
                  <a:srgbClr val="2A9B1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3200400" y="2705100"/>
                <a:ext cx="1371600" cy="1034310"/>
              </a:xfrm>
              <a:prstGeom prst="line">
                <a:avLst/>
              </a:prstGeom>
              <a:ln w="101600">
                <a:solidFill>
                  <a:srgbClr val="2A9B1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 flipV="1">
                <a:off x="4523874" y="3208421"/>
                <a:ext cx="620294" cy="513347"/>
              </a:xfrm>
              <a:prstGeom prst="line">
                <a:avLst/>
              </a:prstGeom>
              <a:ln w="101600">
                <a:solidFill>
                  <a:srgbClr val="2A9B1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 rot="20996301">
                <a:off x="5121934" y="3142925"/>
                <a:ext cx="606388" cy="585820"/>
              </a:xfrm>
              <a:prstGeom prst="line">
                <a:avLst/>
              </a:prstGeom>
              <a:ln w="101600">
                <a:solidFill>
                  <a:srgbClr val="2A9B1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 rot="20996301" flipV="1">
                <a:off x="5677763" y="3468949"/>
                <a:ext cx="756090" cy="116264"/>
              </a:xfrm>
              <a:prstGeom prst="line">
                <a:avLst/>
              </a:prstGeom>
              <a:ln w="101600">
                <a:solidFill>
                  <a:srgbClr val="2A9B1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 rot="20996301">
                <a:off x="6412621" y="3376533"/>
                <a:ext cx="526221" cy="671372"/>
              </a:xfrm>
              <a:prstGeom prst="line">
                <a:avLst/>
              </a:prstGeom>
              <a:ln w="101600">
                <a:solidFill>
                  <a:srgbClr val="2A9B18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 smtClean="0"/>
              <a:t>NAME OF PRESENTER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3</a:t>
            </a:fld>
            <a:r>
              <a:rPr lang="en-US" dirty="0" smtClean="0"/>
              <a:t> 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0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4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Chart 40"/>
          <p:cNvGraphicFramePr/>
          <p:nvPr>
            <p:extLst>
              <p:ext uri="{D42A27DB-BD31-4B8C-83A1-F6EECF244321}">
                <p14:modId xmlns:p14="http://schemas.microsoft.com/office/powerpoint/2010/main" val="3447516834"/>
              </p:ext>
            </p:extLst>
          </p:nvPr>
        </p:nvGraphicFramePr>
        <p:xfrm>
          <a:off x="304800" y="1600200"/>
          <a:ext cx="8534400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Oval 1"/>
          <p:cNvSpPr/>
          <p:nvPr/>
        </p:nvSpPr>
        <p:spPr>
          <a:xfrm>
            <a:off x="114300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223266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" name="Oval 42"/>
          <p:cNvSpPr/>
          <p:nvPr/>
        </p:nvSpPr>
        <p:spPr>
          <a:xfrm>
            <a:off x="332232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41198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550164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659130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7680960" y="4404360"/>
            <a:ext cx="609600" cy="609600"/>
          </a:xfrm>
          <a:prstGeom prst="ellipse">
            <a:avLst/>
          </a:prstGeom>
          <a:solidFill>
            <a:srgbClr val="D5D5D5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447800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2533481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3619162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4704843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5790524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876205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7961889" y="4328160"/>
            <a:ext cx="0" cy="152400"/>
          </a:xfrm>
          <a:prstGeom prst="line">
            <a:avLst/>
          </a:prstGeom>
          <a:ln w="38100">
            <a:solidFill>
              <a:srgbClr val="D5D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935736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57" name="Rectangle 56"/>
          <p:cNvSpPr/>
          <p:nvPr/>
        </p:nvSpPr>
        <p:spPr>
          <a:xfrm>
            <a:off x="2030018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58" name="Rectangle 57"/>
          <p:cNvSpPr/>
          <p:nvPr/>
        </p:nvSpPr>
        <p:spPr>
          <a:xfrm>
            <a:off x="3124300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59" name="Rectangle 58"/>
          <p:cNvSpPr/>
          <p:nvPr/>
        </p:nvSpPr>
        <p:spPr>
          <a:xfrm>
            <a:off x="4218582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0" name="Rectangle 59"/>
          <p:cNvSpPr/>
          <p:nvPr/>
        </p:nvSpPr>
        <p:spPr>
          <a:xfrm>
            <a:off x="5312864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1" name="Rectangle 60"/>
          <p:cNvSpPr/>
          <p:nvPr/>
        </p:nvSpPr>
        <p:spPr>
          <a:xfrm>
            <a:off x="6407146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62" name="Rectangle 61"/>
          <p:cNvSpPr/>
          <p:nvPr/>
        </p:nvSpPr>
        <p:spPr>
          <a:xfrm>
            <a:off x="7501427" y="5027451"/>
            <a:ext cx="1024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5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Chart 34"/>
          <p:cNvGraphicFramePr/>
          <p:nvPr>
            <p:extLst>
              <p:ext uri="{D42A27DB-BD31-4B8C-83A1-F6EECF244321}">
                <p14:modId xmlns:p14="http://schemas.microsoft.com/office/powerpoint/2010/main" val="13411392"/>
              </p:ext>
            </p:extLst>
          </p:nvPr>
        </p:nvGraphicFramePr>
        <p:xfrm>
          <a:off x="192376" y="2807164"/>
          <a:ext cx="8534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Straight Connector 2"/>
          <p:cNvCxnSpPr/>
          <p:nvPr/>
        </p:nvCxnSpPr>
        <p:spPr>
          <a:xfrm>
            <a:off x="344776" y="5474164"/>
            <a:ext cx="8153400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8498176" y="2807164"/>
            <a:ext cx="0" cy="266700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8605603" y="2654764"/>
            <a:ext cx="309797" cy="2954655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square" tIns="91440" bIns="91440" rtlCol="0" anchor="ctr">
            <a:spAutoFit/>
          </a:bodyPr>
          <a:lstStyle/>
          <a:p>
            <a:pPr>
              <a:lnSpc>
                <a:spcPct val="300000"/>
              </a:lnSpc>
            </a:pPr>
            <a:r>
              <a:rPr lang="en-US" sz="1200" b="1" dirty="0" smtClean="0"/>
              <a:t>1</a:t>
            </a:r>
          </a:p>
          <a:p>
            <a:pPr>
              <a:lnSpc>
                <a:spcPct val="300000"/>
              </a:lnSpc>
            </a:pPr>
            <a:r>
              <a:rPr lang="en-US" sz="1200" b="1" dirty="0" smtClean="0"/>
              <a:t>2</a:t>
            </a:r>
          </a:p>
          <a:p>
            <a:pPr>
              <a:lnSpc>
                <a:spcPct val="300000"/>
              </a:lnSpc>
            </a:pPr>
            <a:r>
              <a:rPr lang="en-US" sz="1200" b="1" dirty="0" smtClean="0"/>
              <a:t>3</a:t>
            </a:r>
          </a:p>
          <a:p>
            <a:pPr>
              <a:lnSpc>
                <a:spcPct val="300000"/>
              </a:lnSpc>
            </a:pPr>
            <a:r>
              <a:rPr lang="en-US" sz="1200" b="1" dirty="0" smtClean="0"/>
              <a:t>4</a:t>
            </a:r>
          </a:p>
          <a:p>
            <a:pPr>
              <a:lnSpc>
                <a:spcPct val="300000"/>
              </a:lnSpc>
            </a:pPr>
            <a:r>
              <a:rPr lang="en-US" sz="1200" b="1" dirty="0"/>
              <a:t>5</a:t>
            </a:r>
            <a:endParaRPr lang="en-US" sz="1200" b="1" dirty="0" smtClean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8498176" y="3111964"/>
            <a:ext cx="107427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498176" y="3662853"/>
            <a:ext cx="107427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8498176" y="4213742"/>
            <a:ext cx="107427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8498176" y="4764631"/>
            <a:ext cx="107427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8498176" y="5315519"/>
            <a:ext cx="107427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>
          <a:xfrm>
            <a:off x="801976" y="4635964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1566474" y="4366141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/>
          <p:cNvSpPr/>
          <p:nvPr/>
        </p:nvSpPr>
        <p:spPr>
          <a:xfrm>
            <a:off x="2393788" y="4093999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/>
          <p:cNvSpPr/>
          <p:nvPr/>
        </p:nvSpPr>
        <p:spPr>
          <a:xfrm>
            <a:off x="3188445" y="3800085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/>
          <p:cNvSpPr/>
          <p:nvPr/>
        </p:nvSpPr>
        <p:spPr>
          <a:xfrm>
            <a:off x="3961331" y="3538828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/>
          <p:cNvSpPr/>
          <p:nvPr/>
        </p:nvSpPr>
        <p:spPr>
          <a:xfrm>
            <a:off x="4745103" y="3266685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/>
          <p:cNvSpPr/>
          <p:nvPr/>
        </p:nvSpPr>
        <p:spPr>
          <a:xfrm>
            <a:off x="5550646" y="3035764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/>
          <p:cNvSpPr/>
          <p:nvPr/>
        </p:nvSpPr>
        <p:spPr>
          <a:xfrm>
            <a:off x="6312646" y="2730964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/>
          <p:cNvSpPr/>
          <p:nvPr/>
        </p:nvSpPr>
        <p:spPr>
          <a:xfrm>
            <a:off x="7096417" y="2502364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/>
          <p:cNvSpPr/>
          <p:nvPr/>
        </p:nvSpPr>
        <p:spPr>
          <a:xfrm>
            <a:off x="7934617" y="2197564"/>
            <a:ext cx="152400" cy="1524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0" name="Straight Connector 79"/>
          <p:cNvCxnSpPr>
            <a:stCxn id="69" idx="2"/>
            <a:endCxn id="71" idx="7"/>
          </p:cNvCxnSpPr>
          <p:nvPr/>
        </p:nvCxnSpPr>
        <p:spPr>
          <a:xfrm flipV="1">
            <a:off x="801976" y="4388459"/>
            <a:ext cx="894580" cy="32370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stCxn id="71" idx="2"/>
            <a:endCxn id="72" idx="2"/>
          </p:cNvCxnSpPr>
          <p:nvPr/>
        </p:nvCxnSpPr>
        <p:spPr>
          <a:xfrm flipV="1">
            <a:off x="1566474" y="4170199"/>
            <a:ext cx="827314" cy="27214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72" idx="2"/>
            <a:endCxn id="73" idx="3"/>
          </p:cNvCxnSpPr>
          <p:nvPr/>
        </p:nvCxnSpPr>
        <p:spPr>
          <a:xfrm flipV="1">
            <a:off x="2393788" y="3930167"/>
            <a:ext cx="816975" cy="2400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stCxn id="73" idx="6"/>
            <a:endCxn id="74" idx="3"/>
          </p:cNvCxnSpPr>
          <p:nvPr/>
        </p:nvCxnSpPr>
        <p:spPr>
          <a:xfrm flipV="1">
            <a:off x="3340845" y="3668910"/>
            <a:ext cx="642804" cy="2073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stCxn id="74" idx="6"/>
            <a:endCxn id="75" idx="3"/>
          </p:cNvCxnSpPr>
          <p:nvPr/>
        </p:nvCxnSpPr>
        <p:spPr>
          <a:xfrm flipV="1">
            <a:off x="4113731" y="3396767"/>
            <a:ext cx="653690" cy="2182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stCxn id="75" idx="6"/>
            <a:endCxn id="76" idx="3"/>
          </p:cNvCxnSpPr>
          <p:nvPr/>
        </p:nvCxnSpPr>
        <p:spPr>
          <a:xfrm flipV="1">
            <a:off x="4897503" y="3165846"/>
            <a:ext cx="675461" cy="17703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stCxn id="76" idx="6"/>
            <a:endCxn id="77" idx="3"/>
          </p:cNvCxnSpPr>
          <p:nvPr/>
        </p:nvCxnSpPr>
        <p:spPr>
          <a:xfrm flipV="1">
            <a:off x="5703046" y="2861046"/>
            <a:ext cx="631918" cy="25091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77" idx="6"/>
            <a:endCxn id="78" idx="3"/>
          </p:cNvCxnSpPr>
          <p:nvPr/>
        </p:nvCxnSpPr>
        <p:spPr>
          <a:xfrm flipV="1">
            <a:off x="6465046" y="2632446"/>
            <a:ext cx="653689" cy="17471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stCxn id="78" idx="6"/>
            <a:endCxn id="79" idx="3"/>
          </p:cNvCxnSpPr>
          <p:nvPr/>
        </p:nvCxnSpPr>
        <p:spPr>
          <a:xfrm flipV="1">
            <a:off x="7248817" y="2327646"/>
            <a:ext cx="708118" cy="25091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/>
        </p:nvCxnSpPr>
        <p:spPr>
          <a:xfrm flipV="1">
            <a:off x="878176" y="3215612"/>
            <a:ext cx="0" cy="136214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/>
          <p:cNvSpPr/>
          <p:nvPr/>
        </p:nvSpPr>
        <p:spPr>
          <a:xfrm rot="5400000">
            <a:off x="569797" y="3590965"/>
            <a:ext cx="931813" cy="167586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236790" y="3120571"/>
            <a:ext cx="1020172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cxnSp>
        <p:nvCxnSpPr>
          <p:cNvPr id="121" name="Straight Connector 120"/>
          <p:cNvCxnSpPr/>
          <p:nvPr/>
        </p:nvCxnSpPr>
        <p:spPr>
          <a:xfrm flipV="1">
            <a:off x="3229490" y="2373784"/>
            <a:ext cx="0" cy="136214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/>
          <p:cNvSpPr/>
          <p:nvPr/>
        </p:nvSpPr>
        <p:spPr>
          <a:xfrm rot="5400000">
            <a:off x="2921111" y="2749137"/>
            <a:ext cx="931813" cy="167586"/>
          </a:xfrm>
          <a:prstGeom prst="rect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588104" y="2278743"/>
            <a:ext cx="1020172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cxnSp>
        <p:nvCxnSpPr>
          <p:cNvPr id="124" name="Straight Connector 123"/>
          <p:cNvCxnSpPr/>
          <p:nvPr/>
        </p:nvCxnSpPr>
        <p:spPr>
          <a:xfrm flipV="1">
            <a:off x="5609833" y="1619041"/>
            <a:ext cx="0" cy="136214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/>
          <p:cNvSpPr/>
          <p:nvPr/>
        </p:nvSpPr>
        <p:spPr>
          <a:xfrm rot="5400000">
            <a:off x="5301454" y="1994394"/>
            <a:ext cx="931813" cy="167586"/>
          </a:xfrm>
          <a:prstGeom prst="rect">
            <a:avLst/>
          </a:pr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968447" y="1524000"/>
            <a:ext cx="1020172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32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0" name="Straight Connector 89"/>
          <p:cNvCxnSpPr>
            <a:stCxn id="74" idx="6"/>
            <a:endCxn id="76" idx="2"/>
          </p:cNvCxnSpPr>
          <p:nvPr/>
        </p:nvCxnSpPr>
        <p:spPr>
          <a:xfrm>
            <a:off x="2794000" y="4029529"/>
            <a:ext cx="3552371" cy="0"/>
          </a:xfrm>
          <a:prstGeom prst="line">
            <a:avLst/>
          </a:prstGeom>
          <a:ln w="28575">
            <a:solidFill>
              <a:srgbClr val="0D65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stCxn id="72" idx="4"/>
          </p:cNvCxnSpPr>
          <p:nvPr/>
        </p:nvCxnSpPr>
        <p:spPr>
          <a:xfrm>
            <a:off x="4572000" y="3378200"/>
            <a:ext cx="1287" cy="46560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6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Oval 71"/>
          <p:cNvSpPr/>
          <p:nvPr/>
        </p:nvSpPr>
        <p:spPr>
          <a:xfrm>
            <a:off x="3683000" y="1600200"/>
            <a:ext cx="1778000" cy="1778000"/>
          </a:xfrm>
          <a:prstGeom prst="ellipse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endParaRPr lang="en-US" sz="120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3" name="Freeform 14"/>
          <p:cNvSpPr>
            <a:spLocks/>
          </p:cNvSpPr>
          <p:nvPr/>
        </p:nvSpPr>
        <p:spPr bwMode="auto">
          <a:xfrm>
            <a:off x="3975045" y="1642258"/>
            <a:ext cx="1193909" cy="873826"/>
          </a:xfrm>
          <a:custGeom>
            <a:avLst/>
            <a:gdLst>
              <a:gd name="T0" fmla="*/ 1246 w 1246"/>
              <a:gd name="T1" fmla="*/ 290 h 580"/>
              <a:gd name="T2" fmla="*/ 1242 w 1246"/>
              <a:gd name="T3" fmla="*/ 320 h 580"/>
              <a:gd name="T4" fmla="*/ 1232 w 1246"/>
              <a:gd name="T5" fmla="*/ 349 h 580"/>
              <a:gd name="T6" fmla="*/ 1218 w 1246"/>
              <a:gd name="T7" fmla="*/ 377 h 580"/>
              <a:gd name="T8" fmla="*/ 1195 w 1246"/>
              <a:gd name="T9" fmla="*/ 403 h 580"/>
              <a:gd name="T10" fmla="*/ 1169 w 1246"/>
              <a:gd name="T11" fmla="*/ 429 h 580"/>
              <a:gd name="T12" fmla="*/ 1103 w 1246"/>
              <a:gd name="T13" fmla="*/ 476 h 580"/>
              <a:gd name="T14" fmla="*/ 1018 w 1246"/>
              <a:gd name="T15" fmla="*/ 514 h 580"/>
              <a:gd name="T16" fmla="*/ 919 w 1246"/>
              <a:gd name="T17" fmla="*/ 545 h 580"/>
              <a:gd name="T18" fmla="*/ 808 w 1246"/>
              <a:gd name="T19" fmla="*/ 568 h 580"/>
              <a:gd name="T20" fmla="*/ 686 w 1246"/>
              <a:gd name="T21" fmla="*/ 578 h 580"/>
              <a:gd name="T22" fmla="*/ 622 w 1246"/>
              <a:gd name="T23" fmla="*/ 580 h 580"/>
              <a:gd name="T24" fmla="*/ 497 w 1246"/>
              <a:gd name="T25" fmla="*/ 575 h 580"/>
              <a:gd name="T26" fmla="*/ 381 w 1246"/>
              <a:gd name="T27" fmla="*/ 558 h 580"/>
              <a:gd name="T28" fmla="*/ 275 w 1246"/>
              <a:gd name="T29" fmla="*/ 531 h 580"/>
              <a:gd name="T30" fmla="*/ 183 w 1246"/>
              <a:gd name="T31" fmla="*/ 495 h 580"/>
              <a:gd name="T32" fmla="*/ 106 w 1246"/>
              <a:gd name="T33" fmla="*/ 453 h 580"/>
              <a:gd name="T34" fmla="*/ 61 w 1246"/>
              <a:gd name="T35" fmla="*/ 417 h 580"/>
              <a:gd name="T36" fmla="*/ 38 w 1246"/>
              <a:gd name="T37" fmla="*/ 391 h 580"/>
              <a:gd name="T38" fmla="*/ 19 w 1246"/>
              <a:gd name="T39" fmla="*/ 363 h 580"/>
              <a:gd name="T40" fmla="*/ 7 w 1246"/>
              <a:gd name="T41" fmla="*/ 335 h 580"/>
              <a:gd name="T42" fmla="*/ 2 w 1246"/>
              <a:gd name="T43" fmla="*/ 306 h 580"/>
              <a:gd name="T44" fmla="*/ 0 w 1246"/>
              <a:gd name="T45" fmla="*/ 290 h 580"/>
              <a:gd name="T46" fmla="*/ 4 w 1246"/>
              <a:gd name="T47" fmla="*/ 261 h 580"/>
              <a:gd name="T48" fmla="*/ 12 w 1246"/>
              <a:gd name="T49" fmla="*/ 233 h 580"/>
              <a:gd name="T50" fmla="*/ 28 w 1246"/>
              <a:gd name="T51" fmla="*/ 205 h 580"/>
              <a:gd name="T52" fmla="*/ 49 w 1246"/>
              <a:gd name="T53" fmla="*/ 177 h 580"/>
              <a:gd name="T54" fmla="*/ 75 w 1246"/>
              <a:gd name="T55" fmla="*/ 153 h 580"/>
              <a:gd name="T56" fmla="*/ 143 w 1246"/>
              <a:gd name="T57" fmla="*/ 106 h 580"/>
              <a:gd name="T58" fmla="*/ 226 w 1246"/>
              <a:gd name="T59" fmla="*/ 68 h 580"/>
              <a:gd name="T60" fmla="*/ 327 w 1246"/>
              <a:gd name="T61" fmla="*/ 37 h 580"/>
              <a:gd name="T62" fmla="*/ 438 w 1246"/>
              <a:gd name="T63" fmla="*/ 14 h 580"/>
              <a:gd name="T64" fmla="*/ 559 w 1246"/>
              <a:gd name="T65" fmla="*/ 2 h 580"/>
              <a:gd name="T66" fmla="*/ 622 w 1246"/>
              <a:gd name="T67" fmla="*/ 0 h 580"/>
              <a:gd name="T68" fmla="*/ 749 w 1246"/>
              <a:gd name="T69" fmla="*/ 7 h 580"/>
              <a:gd name="T70" fmla="*/ 865 w 1246"/>
              <a:gd name="T71" fmla="*/ 23 h 580"/>
              <a:gd name="T72" fmla="*/ 971 w 1246"/>
              <a:gd name="T73" fmla="*/ 50 h 580"/>
              <a:gd name="T74" fmla="*/ 1063 w 1246"/>
              <a:gd name="T75" fmla="*/ 85 h 580"/>
              <a:gd name="T76" fmla="*/ 1138 w 1246"/>
              <a:gd name="T77" fmla="*/ 129 h 580"/>
              <a:gd name="T78" fmla="*/ 1183 w 1246"/>
              <a:gd name="T79" fmla="*/ 165 h 580"/>
              <a:gd name="T80" fmla="*/ 1207 w 1246"/>
              <a:gd name="T81" fmla="*/ 191 h 580"/>
              <a:gd name="T82" fmla="*/ 1225 w 1246"/>
              <a:gd name="T83" fmla="*/ 219 h 580"/>
              <a:gd name="T84" fmla="*/ 1239 w 1246"/>
              <a:gd name="T85" fmla="*/ 247 h 580"/>
              <a:gd name="T86" fmla="*/ 1244 w 1246"/>
              <a:gd name="T87" fmla="*/ 276 h 580"/>
              <a:gd name="T88" fmla="*/ 1246 w 1246"/>
              <a:gd name="T89" fmla="*/ 290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46" h="580">
                <a:moveTo>
                  <a:pt x="1246" y="290"/>
                </a:moveTo>
                <a:lnTo>
                  <a:pt x="1246" y="290"/>
                </a:lnTo>
                <a:lnTo>
                  <a:pt x="1244" y="306"/>
                </a:lnTo>
                <a:lnTo>
                  <a:pt x="1242" y="320"/>
                </a:lnTo>
                <a:lnTo>
                  <a:pt x="1239" y="335"/>
                </a:lnTo>
                <a:lnTo>
                  <a:pt x="1232" y="349"/>
                </a:lnTo>
                <a:lnTo>
                  <a:pt x="1225" y="363"/>
                </a:lnTo>
                <a:lnTo>
                  <a:pt x="1218" y="377"/>
                </a:lnTo>
                <a:lnTo>
                  <a:pt x="1207" y="391"/>
                </a:lnTo>
                <a:lnTo>
                  <a:pt x="1195" y="403"/>
                </a:lnTo>
                <a:lnTo>
                  <a:pt x="1183" y="417"/>
                </a:lnTo>
                <a:lnTo>
                  <a:pt x="1169" y="429"/>
                </a:lnTo>
                <a:lnTo>
                  <a:pt x="1138" y="453"/>
                </a:lnTo>
                <a:lnTo>
                  <a:pt x="1103" y="476"/>
                </a:lnTo>
                <a:lnTo>
                  <a:pt x="1063" y="495"/>
                </a:lnTo>
                <a:lnTo>
                  <a:pt x="1018" y="514"/>
                </a:lnTo>
                <a:lnTo>
                  <a:pt x="971" y="531"/>
                </a:lnTo>
                <a:lnTo>
                  <a:pt x="919" y="545"/>
                </a:lnTo>
                <a:lnTo>
                  <a:pt x="865" y="558"/>
                </a:lnTo>
                <a:lnTo>
                  <a:pt x="808" y="568"/>
                </a:lnTo>
                <a:lnTo>
                  <a:pt x="749" y="575"/>
                </a:lnTo>
                <a:lnTo>
                  <a:pt x="686" y="578"/>
                </a:lnTo>
                <a:lnTo>
                  <a:pt x="622" y="580"/>
                </a:lnTo>
                <a:lnTo>
                  <a:pt x="622" y="580"/>
                </a:lnTo>
                <a:lnTo>
                  <a:pt x="559" y="578"/>
                </a:lnTo>
                <a:lnTo>
                  <a:pt x="497" y="575"/>
                </a:lnTo>
                <a:lnTo>
                  <a:pt x="438" y="568"/>
                </a:lnTo>
                <a:lnTo>
                  <a:pt x="381" y="558"/>
                </a:lnTo>
                <a:lnTo>
                  <a:pt x="327" y="545"/>
                </a:lnTo>
                <a:lnTo>
                  <a:pt x="275" y="531"/>
                </a:lnTo>
                <a:lnTo>
                  <a:pt x="226" y="514"/>
                </a:lnTo>
                <a:lnTo>
                  <a:pt x="183" y="495"/>
                </a:lnTo>
                <a:lnTo>
                  <a:pt x="143" y="476"/>
                </a:lnTo>
                <a:lnTo>
                  <a:pt x="106" y="453"/>
                </a:lnTo>
                <a:lnTo>
                  <a:pt x="75" y="429"/>
                </a:lnTo>
                <a:lnTo>
                  <a:pt x="61" y="417"/>
                </a:lnTo>
                <a:lnTo>
                  <a:pt x="49" y="403"/>
                </a:lnTo>
                <a:lnTo>
                  <a:pt x="38" y="391"/>
                </a:lnTo>
                <a:lnTo>
                  <a:pt x="28" y="377"/>
                </a:lnTo>
                <a:lnTo>
                  <a:pt x="19" y="363"/>
                </a:lnTo>
                <a:lnTo>
                  <a:pt x="12" y="349"/>
                </a:lnTo>
                <a:lnTo>
                  <a:pt x="7" y="335"/>
                </a:lnTo>
                <a:lnTo>
                  <a:pt x="4" y="320"/>
                </a:lnTo>
                <a:lnTo>
                  <a:pt x="2" y="306"/>
                </a:lnTo>
                <a:lnTo>
                  <a:pt x="0" y="290"/>
                </a:lnTo>
                <a:lnTo>
                  <a:pt x="0" y="290"/>
                </a:lnTo>
                <a:lnTo>
                  <a:pt x="2" y="276"/>
                </a:lnTo>
                <a:lnTo>
                  <a:pt x="4" y="261"/>
                </a:lnTo>
                <a:lnTo>
                  <a:pt x="7" y="247"/>
                </a:lnTo>
                <a:lnTo>
                  <a:pt x="12" y="233"/>
                </a:lnTo>
                <a:lnTo>
                  <a:pt x="19" y="219"/>
                </a:lnTo>
                <a:lnTo>
                  <a:pt x="28" y="205"/>
                </a:lnTo>
                <a:lnTo>
                  <a:pt x="38" y="191"/>
                </a:lnTo>
                <a:lnTo>
                  <a:pt x="49" y="177"/>
                </a:lnTo>
                <a:lnTo>
                  <a:pt x="61" y="165"/>
                </a:lnTo>
                <a:lnTo>
                  <a:pt x="75" y="153"/>
                </a:lnTo>
                <a:lnTo>
                  <a:pt x="106" y="129"/>
                </a:lnTo>
                <a:lnTo>
                  <a:pt x="143" y="106"/>
                </a:lnTo>
                <a:lnTo>
                  <a:pt x="183" y="85"/>
                </a:lnTo>
                <a:lnTo>
                  <a:pt x="226" y="68"/>
                </a:lnTo>
                <a:lnTo>
                  <a:pt x="275" y="50"/>
                </a:lnTo>
                <a:lnTo>
                  <a:pt x="327" y="37"/>
                </a:lnTo>
                <a:lnTo>
                  <a:pt x="381" y="23"/>
                </a:lnTo>
                <a:lnTo>
                  <a:pt x="438" y="14"/>
                </a:lnTo>
                <a:lnTo>
                  <a:pt x="497" y="7"/>
                </a:lnTo>
                <a:lnTo>
                  <a:pt x="559" y="2"/>
                </a:lnTo>
                <a:lnTo>
                  <a:pt x="622" y="0"/>
                </a:lnTo>
                <a:lnTo>
                  <a:pt x="622" y="0"/>
                </a:lnTo>
                <a:lnTo>
                  <a:pt x="686" y="2"/>
                </a:lnTo>
                <a:lnTo>
                  <a:pt x="749" y="7"/>
                </a:lnTo>
                <a:lnTo>
                  <a:pt x="808" y="14"/>
                </a:lnTo>
                <a:lnTo>
                  <a:pt x="865" y="23"/>
                </a:lnTo>
                <a:lnTo>
                  <a:pt x="919" y="37"/>
                </a:lnTo>
                <a:lnTo>
                  <a:pt x="971" y="50"/>
                </a:lnTo>
                <a:lnTo>
                  <a:pt x="1018" y="68"/>
                </a:lnTo>
                <a:lnTo>
                  <a:pt x="1063" y="85"/>
                </a:lnTo>
                <a:lnTo>
                  <a:pt x="1103" y="106"/>
                </a:lnTo>
                <a:lnTo>
                  <a:pt x="1138" y="129"/>
                </a:lnTo>
                <a:lnTo>
                  <a:pt x="1169" y="153"/>
                </a:lnTo>
                <a:lnTo>
                  <a:pt x="1183" y="165"/>
                </a:lnTo>
                <a:lnTo>
                  <a:pt x="1195" y="177"/>
                </a:lnTo>
                <a:lnTo>
                  <a:pt x="1207" y="191"/>
                </a:lnTo>
                <a:lnTo>
                  <a:pt x="1218" y="205"/>
                </a:lnTo>
                <a:lnTo>
                  <a:pt x="1225" y="219"/>
                </a:lnTo>
                <a:lnTo>
                  <a:pt x="1232" y="233"/>
                </a:lnTo>
                <a:lnTo>
                  <a:pt x="1239" y="247"/>
                </a:lnTo>
                <a:lnTo>
                  <a:pt x="1242" y="261"/>
                </a:lnTo>
                <a:lnTo>
                  <a:pt x="1244" y="276"/>
                </a:lnTo>
                <a:lnTo>
                  <a:pt x="1246" y="290"/>
                </a:lnTo>
                <a:lnTo>
                  <a:pt x="1246" y="290"/>
                </a:lnTo>
                <a:close/>
              </a:path>
            </a:pathLst>
          </a:custGeom>
          <a:solidFill>
            <a:schemeClr val="bg1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923837" y="2156153"/>
            <a:ext cx="1245118" cy="738664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square" tIns="91440" bIns="91440" rtlCol="0" anchor="ctr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GROWTH FORECAST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1905000" y="3585029"/>
            <a:ext cx="889000" cy="889000"/>
            <a:chOff x="1905000" y="3585029"/>
            <a:chExt cx="889000" cy="889000"/>
          </a:xfrm>
        </p:grpSpPr>
        <p:sp>
          <p:nvSpPr>
            <p:cNvPr id="74" name="Oval 73"/>
            <p:cNvSpPr/>
            <p:nvPr/>
          </p:nvSpPr>
          <p:spPr>
            <a:xfrm>
              <a:off x="1905000" y="3585029"/>
              <a:ext cx="889000" cy="889000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2130152" y="3793811"/>
              <a:ext cx="584200" cy="471435"/>
              <a:chOff x="-866775" y="857250"/>
              <a:chExt cx="2549525" cy="2057400"/>
            </a:xfrm>
            <a:solidFill>
              <a:schemeClr val="bg1"/>
            </a:solidFill>
          </p:grpSpPr>
          <p:sp>
            <p:nvSpPr>
              <p:cNvPr id="78" name="Freeform 13"/>
              <p:cNvSpPr>
                <a:spLocks/>
              </p:cNvSpPr>
              <p:nvPr/>
            </p:nvSpPr>
            <p:spPr bwMode="auto">
              <a:xfrm>
                <a:off x="146050" y="876300"/>
                <a:ext cx="1536700" cy="1012825"/>
              </a:xfrm>
              <a:custGeom>
                <a:avLst/>
                <a:gdLst>
                  <a:gd name="T0" fmla="*/ 870 w 968"/>
                  <a:gd name="T1" fmla="*/ 0 h 638"/>
                  <a:gd name="T2" fmla="*/ 824 w 968"/>
                  <a:gd name="T3" fmla="*/ 162 h 638"/>
                  <a:gd name="T4" fmla="*/ 968 w 968"/>
                  <a:gd name="T5" fmla="*/ 180 h 638"/>
                  <a:gd name="T6" fmla="*/ 744 w 968"/>
                  <a:gd name="T7" fmla="*/ 314 h 638"/>
                  <a:gd name="T8" fmla="*/ 622 w 968"/>
                  <a:gd name="T9" fmla="*/ 288 h 638"/>
                  <a:gd name="T10" fmla="*/ 22 w 968"/>
                  <a:gd name="T11" fmla="*/ 638 h 638"/>
                  <a:gd name="T12" fmla="*/ 0 w 968"/>
                  <a:gd name="T13" fmla="*/ 604 h 638"/>
                  <a:gd name="T14" fmla="*/ 608 w 968"/>
                  <a:gd name="T15" fmla="*/ 236 h 638"/>
                  <a:gd name="T16" fmla="*/ 628 w 968"/>
                  <a:gd name="T17" fmla="*/ 130 h 638"/>
                  <a:gd name="T18" fmla="*/ 870 w 968"/>
                  <a:gd name="T19" fmla="*/ 0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8" h="638">
                    <a:moveTo>
                      <a:pt x="870" y="0"/>
                    </a:moveTo>
                    <a:lnTo>
                      <a:pt x="824" y="162"/>
                    </a:lnTo>
                    <a:lnTo>
                      <a:pt x="968" y="180"/>
                    </a:lnTo>
                    <a:lnTo>
                      <a:pt x="744" y="314"/>
                    </a:lnTo>
                    <a:lnTo>
                      <a:pt x="622" y="288"/>
                    </a:lnTo>
                    <a:lnTo>
                      <a:pt x="22" y="638"/>
                    </a:lnTo>
                    <a:lnTo>
                      <a:pt x="0" y="604"/>
                    </a:lnTo>
                    <a:lnTo>
                      <a:pt x="608" y="236"/>
                    </a:lnTo>
                    <a:lnTo>
                      <a:pt x="628" y="130"/>
                    </a:lnTo>
                    <a:lnTo>
                      <a:pt x="8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4"/>
              <p:cNvSpPr>
                <a:spLocks/>
              </p:cNvSpPr>
              <p:nvPr/>
            </p:nvSpPr>
            <p:spPr bwMode="auto">
              <a:xfrm>
                <a:off x="-57150" y="1663700"/>
                <a:ext cx="441325" cy="441325"/>
              </a:xfrm>
              <a:custGeom>
                <a:avLst/>
                <a:gdLst>
                  <a:gd name="T0" fmla="*/ 152 w 278"/>
                  <a:gd name="T1" fmla="*/ 140 h 278"/>
                  <a:gd name="T2" fmla="*/ 262 w 278"/>
                  <a:gd name="T3" fmla="*/ 74 h 278"/>
                  <a:gd name="T4" fmla="*/ 240 w 278"/>
                  <a:gd name="T5" fmla="*/ 44 h 278"/>
                  <a:gd name="T6" fmla="*/ 210 w 278"/>
                  <a:gd name="T7" fmla="*/ 20 h 278"/>
                  <a:gd name="T8" fmla="*/ 176 w 278"/>
                  <a:gd name="T9" fmla="*/ 6 h 278"/>
                  <a:gd name="T10" fmla="*/ 138 w 278"/>
                  <a:gd name="T11" fmla="*/ 0 h 278"/>
                  <a:gd name="T12" fmla="*/ 124 w 278"/>
                  <a:gd name="T13" fmla="*/ 2 h 278"/>
                  <a:gd name="T14" fmla="*/ 98 w 278"/>
                  <a:gd name="T15" fmla="*/ 6 h 278"/>
                  <a:gd name="T16" fmla="*/ 72 w 278"/>
                  <a:gd name="T17" fmla="*/ 18 h 278"/>
                  <a:gd name="T18" fmla="*/ 50 w 278"/>
                  <a:gd name="T19" fmla="*/ 32 h 278"/>
                  <a:gd name="T20" fmla="*/ 32 w 278"/>
                  <a:gd name="T21" fmla="*/ 52 h 278"/>
                  <a:gd name="T22" fmla="*/ 16 w 278"/>
                  <a:gd name="T23" fmla="*/ 74 h 278"/>
                  <a:gd name="T24" fmla="*/ 6 w 278"/>
                  <a:gd name="T25" fmla="*/ 98 h 278"/>
                  <a:gd name="T26" fmla="*/ 0 w 278"/>
                  <a:gd name="T27" fmla="*/ 126 h 278"/>
                  <a:gd name="T28" fmla="*/ 0 w 278"/>
                  <a:gd name="T29" fmla="*/ 140 h 278"/>
                  <a:gd name="T30" fmla="*/ 2 w 278"/>
                  <a:gd name="T31" fmla="*/ 168 h 278"/>
                  <a:gd name="T32" fmla="*/ 10 w 278"/>
                  <a:gd name="T33" fmla="*/ 194 h 278"/>
                  <a:gd name="T34" fmla="*/ 24 w 278"/>
                  <a:gd name="T35" fmla="*/ 218 h 278"/>
                  <a:gd name="T36" fmla="*/ 40 w 278"/>
                  <a:gd name="T37" fmla="*/ 238 h 278"/>
                  <a:gd name="T38" fmla="*/ 62 w 278"/>
                  <a:gd name="T39" fmla="*/ 254 h 278"/>
                  <a:gd name="T40" fmla="*/ 84 w 278"/>
                  <a:gd name="T41" fmla="*/ 268 h 278"/>
                  <a:gd name="T42" fmla="*/ 110 w 278"/>
                  <a:gd name="T43" fmla="*/ 276 h 278"/>
                  <a:gd name="T44" fmla="*/ 138 w 278"/>
                  <a:gd name="T45" fmla="*/ 278 h 278"/>
                  <a:gd name="T46" fmla="*/ 152 w 278"/>
                  <a:gd name="T47" fmla="*/ 278 h 278"/>
                  <a:gd name="T48" fmla="*/ 180 w 278"/>
                  <a:gd name="T49" fmla="*/ 272 h 278"/>
                  <a:gd name="T50" fmla="*/ 206 w 278"/>
                  <a:gd name="T51" fmla="*/ 262 h 278"/>
                  <a:gd name="T52" fmla="*/ 228 w 278"/>
                  <a:gd name="T53" fmla="*/ 246 h 278"/>
                  <a:gd name="T54" fmla="*/ 246 w 278"/>
                  <a:gd name="T55" fmla="*/ 228 h 278"/>
                  <a:gd name="T56" fmla="*/ 260 w 278"/>
                  <a:gd name="T57" fmla="*/ 206 h 278"/>
                  <a:gd name="T58" fmla="*/ 272 w 278"/>
                  <a:gd name="T59" fmla="*/ 182 h 278"/>
                  <a:gd name="T60" fmla="*/ 278 w 278"/>
                  <a:gd name="T61" fmla="*/ 154 h 278"/>
                  <a:gd name="T62" fmla="*/ 278 w 278"/>
                  <a:gd name="T63" fmla="*/ 140 h 278"/>
                  <a:gd name="T64" fmla="*/ 174 w 278"/>
                  <a:gd name="T65" fmla="*/ 174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8" h="278">
                    <a:moveTo>
                      <a:pt x="174" y="174"/>
                    </a:moveTo>
                    <a:lnTo>
                      <a:pt x="152" y="140"/>
                    </a:lnTo>
                    <a:lnTo>
                      <a:pt x="262" y="74"/>
                    </a:lnTo>
                    <a:lnTo>
                      <a:pt x="262" y="74"/>
                    </a:lnTo>
                    <a:lnTo>
                      <a:pt x="252" y="58"/>
                    </a:lnTo>
                    <a:lnTo>
                      <a:pt x="240" y="44"/>
                    </a:lnTo>
                    <a:lnTo>
                      <a:pt x="226" y="32"/>
                    </a:lnTo>
                    <a:lnTo>
                      <a:pt x="210" y="20"/>
                    </a:lnTo>
                    <a:lnTo>
                      <a:pt x="194" y="12"/>
                    </a:lnTo>
                    <a:lnTo>
                      <a:pt x="176" y="6"/>
                    </a:lnTo>
                    <a:lnTo>
                      <a:pt x="158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24" y="2"/>
                    </a:lnTo>
                    <a:lnTo>
                      <a:pt x="110" y="4"/>
                    </a:lnTo>
                    <a:lnTo>
                      <a:pt x="98" y="6"/>
                    </a:lnTo>
                    <a:lnTo>
                      <a:pt x="84" y="12"/>
                    </a:lnTo>
                    <a:lnTo>
                      <a:pt x="72" y="18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0" y="42"/>
                    </a:lnTo>
                    <a:lnTo>
                      <a:pt x="32" y="52"/>
                    </a:lnTo>
                    <a:lnTo>
                      <a:pt x="24" y="62"/>
                    </a:lnTo>
                    <a:lnTo>
                      <a:pt x="16" y="74"/>
                    </a:lnTo>
                    <a:lnTo>
                      <a:pt x="10" y="86"/>
                    </a:lnTo>
                    <a:lnTo>
                      <a:pt x="6" y="98"/>
                    </a:lnTo>
                    <a:lnTo>
                      <a:pt x="2" y="112"/>
                    </a:lnTo>
                    <a:lnTo>
                      <a:pt x="0" y="126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54"/>
                    </a:lnTo>
                    <a:lnTo>
                      <a:pt x="2" y="168"/>
                    </a:lnTo>
                    <a:lnTo>
                      <a:pt x="6" y="182"/>
                    </a:lnTo>
                    <a:lnTo>
                      <a:pt x="10" y="194"/>
                    </a:lnTo>
                    <a:lnTo>
                      <a:pt x="16" y="206"/>
                    </a:lnTo>
                    <a:lnTo>
                      <a:pt x="24" y="218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0" y="246"/>
                    </a:lnTo>
                    <a:lnTo>
                      <a:pt x="62" y="254"/>
                    </a:lnTo>
                    <a:lnTo>
                      <a:pt x="72" y="262"/>
                    </a:lnTo>
                    <a:lnTo>
                      <a:pt x="84" y="268"/>
                    </a:lnTo>
                    <a:lnTo>
                      <a:pt x="98" y="272"/>
                    </a:lnTo>
                    <a:lnTo>
                      <a:pt x="110" y="276"/>
                    </a:lnTo>
                    <a:lnTo>
                      <a:pt x="124" y="278"/>
                    </a:lnTo>
                    <a:lnTo>
                      <a:pt x="138" y="278"/>
                    </a:lnTo>
                    <a:lnTo>
                      <a:pt x="138" y="278"/>
                    </a:lnTo>
                    <a:lnTo>
                      <a:pt x="152" y="278"/>
                    </a:lnTo>
                    <a:lnTo>
                      <a:pt x="166" y="276"/>
                    </a:lnTo>
                    <a:lnTo>
                      <a:pt x="180" y="272"/>
                    </a:lnTo>
                    <a:lnTo>
                      <a:pt x="192" y="268"/>
                    </a:lnTo>
                    <a:lnTo>
                      <a:pt x="206" y="262"/>
                    </a:lnTo>
                    <a:lnTo>
                      <a:pt x="216" y="254"/>
                    </a:lnTo>
                    <a:lnTo>
                      <a:pt x="228" y="246"/>
                    </a:lnTo>
                    <a:lnTo>
                      <a:pt x="238" y="238"/>
                    </a:lnTo>
                    <a:lnTo>
                      <a:pt x="246" y="228"/>
                    </a:lnTo>
                    <a:lnTo>
                      <a:pt x="254" y="218"/>
                    </a:lnTo>
                    <a:lnTo>
                      <a:pt x="260" y="206"/>
                    </a:lnTo>
                    <a:lnTo>
                      <a:pt x="266" y="194"/>
                    </a:lnTo>
                    <a:lnTo>
                      <a:pt x="272" y="182"/>
                    </a:lnTo>
                    <a:lnTo>
                      <a:pt x="274" y="168"/>
                    </a:lnTo>
                    <a:lnTo>
                      <a:pt x="278" y="154"/>
                    </a:lnTo>
                    <a:lnTo>
                      <a:pt x="278" y="140"/>
                    </a:lnTo>
                    <a:lnTo>
                      <a:pt x="278" y="140"/>
                    </a:lnTo>
                    <a:lnTo>
                      <a:pt x="276" y="114"/>
                    </a:lnTo>
                    <a:lnTo>
                      <a:pt x="174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5"/>
              <p:cNvSpPr>
                <a:spLocks/>
              </p:cNvSpPr>
              <p:nvPr/>
            </p:nvSpPr>
            <p:spPr bwMode="auto">
              <a:xfrm>
                <a:off x="-549275" y="1174750"/>
                <a:ext cx="1425575" cy="1422400"/>
              </a:xfrm>
              <a:custGeom>
                <a:avLst/>
                <a:gdLst>
                  <a:gd name="T0" fmla="*/ 714 w 898"/>
                  <a:gd name="T1" fmla="*/ 374 h 896"/>
                  <a:gd name="T2" fmla="*/ 724 w 898"/>
                  <a:gd name="T3" fmla="*/ 448 h 896"/>
                  <a:gd name="T4" fmla="*/ 720 w 898"/>
                  <a:gd name="T5" fmla="*/ 504 h 896"/>
                  <a:gd name="T6" fmla="*/ 692 w 898"/>
                  <a:gd name="T7" fmla="*/ 580 h 896"/>
                  <a:gd name="T8" fmla="*/ 644 w 898"/>
                  <a:gd name="T9" fmla="*/ 642 h 896"/>
                  <a:gd name="T10" fmla="*/ 580 w 898"/>
                  <a:gd name="T11" fmla="*/ 690 h 896"/>
                  <a:gd name="T12" fmla="*/ 504 w 898"/>
                  <a:gd name="T13" fmla="*/ 718 h 896"/>
                  <a:gd name="T14" fmla="*/ 448 w 898"/>
                  <a:gd name="T15" fmla="*/ 724 h 896"/>
                  <a:gd name="T16" fmla="*/ 366 w 898"/>
                  <a:gd name="T17" fmla="*/ 712 h 896"/>
                  <a:gd name="T18" fmla="*/ 294 w 898"/>
                  <a:gd name="T19" fmla="*/ 676 h 896"/>
                  <a:gd name="T20" fmla="*/ 236 w 898"/>
                  <a:gd name="T21" fmla="*/ 624 h 896"/>
                  <a:gd name="T22" fmla="*/ 194 w 898"/>
                  <a:gd name="T23" fmla="*/ 556 h 896"/>
                  <a:gd name="T24" fmla="*/ 174 w 898"/>
                  <a:gd name="T25" fmla="*/ 476 h 896"/>
                  <a:gd name="T26" fmla="*/ 174 w 898"/>
                  <a:gd name="T27" fmla="*/ 420 h 896"/>
                  <a:gd name="T28" fmla="*/ 194 w 898"/>
                  <a:gd name="T29" fmla="*/ 340 h 896"/>
                  <a:gd name="T30" fmla="*/ 236 w 898"/>
                  <a:gd name="T31" fmla="*/ 272 h 896"/>
                  <a:gd name="T32" fmla="*/ 294 w 898"/>
                  <a:gd name="T33" fmla="*/ 218 h 896"/>
                  <a:gd name="T34" fmla="*/ 366 w 898"/>
                  <a:gd name="T35" fmla="*/ 184 h 896"/>
                  <a:gd name="T36" fmla="*/ 448 w 898"/>
                  <a:gd name="T37" fmla="*/ 172 h 896"/>
                  <a:gd name="T38" fmla="*/ 486 w 898"/>
                  <a:gd name="T39" fmla="*/ 174 h 896"/>
                  <a:gd name="T40" fmla="*/ 540 w 898"/>
                  <a:gd name="T41" fmla="*/ 188 h 896"/>
                  <a:gd name="T42" fmla="*/ 618 w 898"/>
                  <a:gd name="T43" fmla="*/ 230 h 896"/>
                  <a:gd name="T44" fmla="*/ 688 w 898"/>
                  <a:gd name="T45" fmla="*/ 310 h 896"/>
                  <a:gd name="T46" fmla="*/ 820 w 898"/>
                  <a:gd name="T47" fmla="*/ 198 h 896"/>
                  <a:gd name="T48" fmla="*/ 766 w 898"/>
                  <a:gd name="T49" fmla="*/ 130 h 896"/>
                  <a:gd name="T50" fmla="*/ 700 w 898"/>
                  <a:gd name="T51" fmla="*/ 76 h 896"/>
                  <a:gd name="T52" fmla="*/ 624 w 898"/>
                  <a:gd name="T53" fmla="*/ 34 h 896"/>
                  <a:gd name="T54" fmla="*/ 540 w 898"/>
                  <a:gd name="T55" fmla="*/ 8 h 896"/>
                  <a:gd name="T56" fmla="*/ 448 w 898"/>
                  <a:gd name="T57" fmla="*/ 0 h 896"/>
                  <a:gd name="T58" fmla="*/ 358 w 898"/>
                  <a:gd name="T59" fmla="*/ 8 h 896"/>
                  <a:gd name="T60" fmla="*/ 236 w 898"/>
                  <a:gd name="T61" fmla="*/ 54 h 896"/>
                  <a:gd name="T62" fmla="*/ 132 w 898"/>
                  <a:gd name="T63" fmla="*/ 130 h 896"/>
                  <a:gd name="T64" fmla="*/ 54 w 898"/>
                  <a:gd name="T65" fmla="*/ 234 h 896"/>
                  <a:gd name="T66" fmla="*/ 10 w 898"/>
                  <a:gd name="T67" fmla="*/ 358 h 896"/>
                  <a:gd name="T68" fmla="*/ 0 w 898"/>
                  <a:gd name="T69" fmla="*/ 448 h 896"/>
                  <a:gd name="T70" fmla="*/ 20 w 898"/>
                  <a:gd name="T71" fmla="*/ 582 h 896"/>
                  <a:gd name="T72" fmla="*/ 78 w 898"/>
                  <a:gd name="T73" fmla="*/ 698 h 896"/>
                  <a:gd name="T74" fmla="*/ 164 w 898"/>
                  <a:gd name="T75" fmla="*/ 794 h 896"/>
                  <a:gd name="T76" fmla="*/ 274 w 898"/>
                  <a:gd name="T77" fmla="*/ 860 h 896"/>
                  <a:gd name="T78" fmla="*/ 402 w 898"/>
                  <a:gd name="T79" fmla="*/ 894 h 896"/>
                  <a:gd name="T80" fmla="*/ 494 w 898"/>
                  <a:gd name="T81" fmla="*/ 894 h 896"/>
                  <a:gd name="T82" fmla="*/ 624 w 898"/>
                  <a:gd name="T83" fmla="*/ 860 h 896"/>
                  <a:gd name="T84" fmla="*/ 734 w 898"/>
                  <a:gd name="T85" fmla="*/ 794 h 896"/>
                  <a:gd name="T86" fmla="*/ 820 w 898"/>
                  <a:gd name="T87" fmla="*/ 698 h 896"/>
                  <a:gd name="T88" fmla="*/ 876 w 898"/>
                  <a:gd name="T89" fmla="*/ 582 h 896"/>
                  <a:gd name="T90" fmla="*/ 898 w 898"/>
                  <a:gd name="T91" fmla="*/ 448 h 896"/>
                  <a:gd name="T92" fmla="*/ 894 w 898"/>
                  <a:gd name="T93" fmla="*/ 400 h 896"/>
                  <a:gd name="T94" fmla="*/ 882 w 898"/>
                  <a:gd name="T95" fmla="*/ 330 h 896"/>
                  <a:gd name="T96" fmla="*/ 858 w 898"/>
                  <a:gd name="T97" fmla="*/ 264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98" h="896">
                    <a:moveTo>
                      <a:pt x="708" y="352"/>
                    </a:moveTo>
                    <a:lnTo>
                      <a:pt x="708" y="352"/>
                    </a:lnTo>
                    <a:lnTo>
                      <a:pt x="714" y="374"/>
                    </a:lnTo>
                    <a:lnTo>
                      <a:pt x="720" y="398"/>
                    </a:lnTo>
                    <a:lnTo>
                      <a:pt x="724" y="422"/>
                    </a:lnTo>
                    <a:lnTo>
                      <a:pt x="724" y="448"/>
                    </a:lnTo>
                    <a:lnTo>
                      <a:pt x="724" y="448"/>
                    </a:lnTo>
                    <a:lnTo>
                      <a:pt x="724" y="476"/>
                    </a:lnTo>
                    <a:lnTo>
                      <a:pt x="720" y="504"/>
                    </a:lnTo>
                    <a:lnTo>
                      <a:pt x="712" y="530"/>
                    </a:lnTo>
                    <a:lnTo>
                      <a:pt x="704" y="556"/>
                    </a:lnTo>
                    <a:lnTo>
                      <a:pt x="692" y="580"/>
                    </a:lnTo>
                    <a:lnTo>
                      <a:pt x="678" y="602"/>
                    </a:lnTo>
                    <a:lnTo>
                      <a:pt x="662" y="624"/>
                    </a:lnTo>
                    <a:lnTo>
                      <a:pt x="644" y="642"/>
                    </a:lnTo>
                    <a:lnTo>
                      <a:pt x="624" y="660"/>
                    </a:lnTo>
                    <a:lnTo>
                      <a:pt x="604" y="676"/>
                    </a:lnTo>
                    <a:lnTo>
                      <a:pt x="580" y="690"/>
                    </a:lnTo>
                    <a:lnTo>
                      <a:pt x="556" y="702"/>
                    </a:lnTo>
                    <a:lnTo>
                      <a:pt x="530" y="712"/>
                    </a:lnTo>
                    <a:lnTo>
                      <a:pt x="504" y="718"/>
                    </a:lnTo>
                    <a:lnTo>
                      <a:pt x="476" y="722"/>
                    </a:lnTo>
                    <a:lnTo>
                      <a:pt x="448" y="724"/>
                    </a:lnTo>
                    <a:lnTo>
                      <a:pt x="448" y="724"/>
                    </a:lnTo>
                    <a:lnTo>
                      <a:pt x="420" y="722"/>
                    </a:lnTo>
                    <a:lnTo>
                      <a:pt x="394" y="718"/>
                    </a:lnTo>
                    <a:lnTo>
                      <a:pt x="366" y="712"/>
                    </a:lnTo>
                    <a:lnTo>
                      <a:pt x="342" y="702"/>
                    </a:lnTo>
                    <a:lnTo>
                      <a:pt x="318" y="690"/>
                    </a:lnTo>
                    <a:lnTo>
                      <a:pt x="294" y="676"/>
                    </a:lnTo>
                    <a:lnTo>
                      <a:pt x="274" y="660"/>
                    </a:lnTo>
                    <a:lnTo>
                      <a:pt x="254" y="642"/>
                    </a:lnTo>
                    <a:lnTo>
                      <a:pt x="236" y="624"/>
                    </a:lnTo>
                    <a:lnTo>
                      <a:pt x="220" y="602"/>
                    </a:lnTo>
                    <a:lnTo>
                      <a:pt x="206" y="580"/>
                    </a:lnTo>
                    <a:lnTo>
                      <a:pt x="194" y="556"/>
                    </a:lnTo>
                    <a:lnTo>
                      <a:pt x="186" y="530"/>
                    </a:lnTo>
                    <a:lnTo>
                      <a:pt x="178" y="504"/>
                    </a:lnTo>
                    <a:lnTo>
                      <a:pt x="174" y="476"/>
                    </a:lnTo>
                    <a:lnTo>
                      <a:pt x="172" y="448"/>
                    </a:lnTo>
                    <a:lnTo>
                      <a:pt x="172" y="448"/>
                    </a:lnTo>
                    <a:lnTo>
                      <a:pt x="174" y="420"/>
                    </a:lnTo>
                    <a:lnTo>
                      <a:pt x="178" y="392"/>
                    </a:lnTo>
                    <a:lnTo>
                      <a:pt x="186" y="366"/>
                    </a:lnTo>
                    <a:lnTo>
                      <a:pt x="194" y="340"/>
                    </a:lnTo>
                    <a:lnTo>
                      <a:pt x="206" y="316"/>
                    </a:lnTo>
                    <a:lnTo>
                      <a:pt x="220" y="294"/>
                    </a:lnTo>
                    <a:lnTo>
                      <a:pt x="236" y="272"/>
                    </a:lnTo>
                    <a:lnTo>
                      <a:pt x="254" y="252"/>
                    </a:lnTo>
                    <a:lnTo>
                      <a:pt x="274" y="234"/>
                    </a:lnTo>
                    <a:lnTo>
                      <a:pt x="294" y="218"/>
                    </a:lnTo>
                    <a:lnTo>
                      <a:pt x="318" y="206"/>
                    </a:lnTo>
                    <a:lnTo>
                      <a:pt x="342" y="194"/>
                    </a:lnTo>
                    <a:lnTo>
                      <a:pt x="366" y="184"/>
                    </a:lnTo>
                    <a:lnTo>
                      <a:pt x="394" y="178"/>
                    </a:lnTo>
                    <a:lnTo>
                      <a:pt x="420" y="174"/>
                    </a:lnTo>
                    <a:lnTo>
                      <a:pt x="448" y="172"/>
                    </a:lnTo>
                    <a:lnTo>
                      <a:pt x="448" y="172"/>
                    </a:lnTo>
                    <a:lnTo>
                      <a:pt x="468" y="172"/>
                    </a:lnTo>
                    <a:lnTo>
                      <a:pt x="486" y="174"/>
                    </a:lnTo>
                    <a:lnTo>
                      <a:pt x="504" y="178"/>
                    </a:lnTo>
                    <a:lnTo>
                      <a:pt x="522" y="182"/>
                    </a:lnTo>
                    <a:lnTo>
                      <a:pt x="540" y="188"/>
                    </a:lnTo>
                    <a:lnTo>
                      <a:pt x="558" y="194"/>
                    </a:lnTo>
                    <a:lnTo>
                      <a:pt x="590" y="210"/>
                    </a:lnTo>
                    <a:lnTo>
                      <a:pt x="618" y="230"/>
                    </a:lnTo>
                    <a:lnTo>
                      <a:pt x="646" y="254"/>
                    </a:lnTo>
                    <a:lnTo>
                      <a:pt x="668" y="280"/>
                    </a:lnTo>
                    <a:lnTo>
                      <a:pt x="688" y="310"/>
                    </a:lnTo>
                    <a:lnTo>
                      <a:pt x="836" y="222"/>
                    </a:lnTo>
                    <a:lnTo>
                      <a:pt x="836" y="222"/>
                    </a:lnTo>
                    <a:lnTo>
                      <a:pt x="820" y="198"/>
                    </a:lnTo>
                    <a:lnTo>
                      <a:pt x="804" y="174"/>
                    </a:lnTo>
                    <a:lnTo>
                      <a:pt x="786" y="152"/>
                    </a:lnTo>
                    <a:lnTo>
                      <a:pt x="766" y="130"/>
                    </a:lnTo>
                    <a:lnTo>
                      <a:pt x="744" y="112"/>
                    </a:lnTo>
                    <a:lnTo>
                      <a:pt x="722" y="92"/>
                    </a:lnTo>
                    <a:lnTo>
                      <a:pt x="700" y="76"/>
                    </a:lnTo>
                    <a:lnTo>
                      <a:pt x="674" y="60"/>
                    </a:lnTo>
                    <a:lnTo>
                      <a:pt x="650" y="46"/>
                    </a:lnTo>
                    <a:lnTo>
                      <a:pt x="624" y="34"/>
                    </a:lnTo>
                    <a:lnTo>
                      <a:pt x="596" y="24"/>
                    </a:lnTo>
                    <a:lnTo>
                      <a:pt x="568" y="16"/>
                    </a:lnTo>
                    <a:lnTo>
                      <a:pt x="540" y="8"/>
                    </a:lnTo>
                    <a:lnTo>
                      <a:pt x="510" y="4"/>
                    </a:lnTo>
                    <a:lnTo>
                      <a:pt x="480" y="0"/>
                    </a:lnTo>
                    <a:lnTo>
                      <a:pt x="448" y="0"/>
                    </a:lnTo>
                    <a:lnTo>
                      <a:pt x="448" y="0"/>
                    </a:lnTo>
                    <a:lnTo>
                      <a:pt x="402" y="2"/>
                    </a:lnTo>
                    <a:lnTo>
                      <a:pt x="358" y="8"/>
                    </a:lnTo>
                    <a:lnTo>
                      <a:pt x="316" y="20"/>
                    </a:lnTo>
                    <a:lnTo>
                      <a:pt x="274" y="34"/>
                    </a:lnTo>
                    <a:lnTo>
                      <a:pt x="236" y="54"/>
                    </a:lnTo>
                    <a:lnTo>
                      <a:pt x="198" y="76"/>
                    </a:lnTo>
                    <a:lnTo>
                      <a:pt x="164" y="102"/>
                    </a:lnTo>
                    <a:lnTo>
                      <a:pt x="132" y="130"/>
                    </a:lnTo>
                    <a:lnTo>
                      <a:pt x="102" y="162"/>
                    </a:lnTo>
                    <a:lnTo>
                      <a:pt x="78" y="198"/>
                    </a:lnTo>
                    <a:lnTo>
                      <a:pt x="54" y="234"/>
                    </a:lnTo>
                    <a:lnTo>
                      <a:pt x="36" y="274"/>
                    </a:lnTo>
                    <a:lnTo>
                      <a:pt x="20" y="314"/>
                    </a:lnTo>
                    <a:lnTo>
                      <a:pt x="10" y="358"/>
                    </a:lnTo>
                    <a:lnTo>
                      <a:pt x="2" y="402"/>
                    </a:lnTo>
                    <a:lnTo>
                      <a:pt x="0" y="448"/>
                    </a:lnTo>
                    <a:lnTo>
                      <a:pt x="0" y="448"/>
                    </a:lnTo>
                    <a:lnTo>
                      <a:pt x="2" y="494"/>
                    </a:lnTo>
                    <a:lnTo>
                      <a:pt x="10" y="538"/>
                    </a:lnTo>
                    <a:lnTo>
                      <a:pt x="20" y="582"/>
                    </a:lnTo>
                    <a:lnTo>
                      <a:pt x="36" y="622"/>
                    </a:lnTo>
                    <a:lnTo>
                      <a:pt x="54" y="662"/>
                    </a:lnTo>
                    <a:lnTo>
                      <a:pt x="78" y="698"/>
                    </a:lnTo>
                    <a:lnTo>
                      <a:pt x="102" y="732"/>
                    </a:lnTo>
                    <a:lnTo>
                      <a:pt x="132" y="764"/>
                    </a:lnTo>
                    <a:lnTo>
                      <a:pt x="164" y="794"/>
                    </a:lnTo>
                    <a:lnTo>
                      <a:pt x="198" y="820"/>
                    </a:lnTo>
                    <a:lnTo>
                      <a:pt x="236" y="842"/>
                    </a:lnTo>
                    <a:lnTo>
                      <a:pt x="274" y="860"/>
                    </a:lnTo>
                    <a:lnTo>
                      <a:pt x="316" y="876"/>
                    </a:lnTo>
                    <a:lnTo>
                      <a:pt x="358" y="886"/>
                    </a:lnTo>
                    <a:lnTo>
                      <a:pt x="402" y="89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494" y="894"/>
                    </a:lnTo>
                    <a:lnTo>
                      <a:pt x="540" y="886"/>
                    </a:lnTo>
                    <a:lnTo>
                      <a:pt x="582" y="876"/>
                    </a:lnTo>
                    <a:lnTo>
                      <a:pt x="624" y="860"/>
                    </a:lnTo>
                    <a:lnTo>
                      <a:pt x="662" y="842"/>
                    </a:lnTo>
                    <a:lnTo>
                      <a:pt x="700" y="820"/>
                    </a:lnTo>
                    <a:lnTo>
                      <a:pt x="734" y="794"/>
                    </a:lnTo>
                    <a:lnTo>
                      <a:pt x="766" y="764"/>
                    </a:lnTo>
                    <a:lnTo>
                      <a:pt x="794" y="732"/>
                    </a:lnTo>
                    <a:lnTo>
                      <a:pt x="820" y="698"/>
                    </a:lnTo>
                    <a:lnTo>
                      <a:pt x="842" y="662"/>
                    </a:lnTo>
                    <a:lnTo>
                      <a:pt x="862" y="622"/>
                    </a:lnTo>
                    <a:lnTo>
                      <a:pt x="876" y="582"/>
                    </a:lnTo>
                    <a:lnTo>
                      <a:pt x="888" y="538"/>
                    </a:lnTo>
                    <a:lnTo>
                      <a:pt x="894" y="494"/>
                    </a:lnTo>
                    <a:lnTo>
                      <a:pt x="898" y="448"/>
                    </a:lnTo>
                    <a:lnTo>
                      <a:pt x="898" y="448"/>
                    </a:lnTo>
                    <a:lnTo>
                      <a:pt x="896" y="424"/>
                    </a:lnTo>
                    <a:lnTo>
                      <a:pt x="894" y="400"/>
                    </a:lnTo>
                    <a:lnTo>
                      <a:pt x="892" y="376"/>
                    </a:lnTo>
                    <a:lnTo>
                      <a:pt x="886" y="352"/>
                    </a:lnTo>
                    <a:lnTo>
                      <a:pt x="882" y="330"/>
                    </a:lnTo>
                    <a:lnTo>
                      <a:pt x="874" y="308"/>
                    </a:lnTo>
                    <a:lnTo>
                      <a:pt x="866" y="286"/>
                    </a:lnTo>
                    <a:lnTo>
                      <a:pt x="858" y="264"/>
                    </a:lnTo>
                    <a:lnTo>
                      <a:pt x="708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6"/>
              <p:cNvSpPr>
                <a:spLocks/>
              </p:cNvSpPr>
              <p:nvPr/>
            </p:nvSpPr>
            <p:spPr bwMode="auto">
              <a:xfrm>
                <a:off x="-866775" y="857250"/>
                <a:ext cx="2057400" cy="2057400"/>
              </a:xfrm>
              <a:custGeom>
                <a:avLst/>
                <a:gdLst>
                  <a:gd name="T0" fmla="*/ 1226 w 1296"/>
                  <a:gd name="T1" fmla="*/ 442 h 1296"/>
                  <a:gd name="T2" fmla="*/ 1258 w 1296"/>
                  <a:gd name="T3" fmla="*/ 576 h 1296"/>
                  <a:gd name="T4" fmla="*/ 1260 w 1296"/>
                  <a:gd name="T5" fmla="*/ 680 h 1296"/>
                  <a:gd name="T6" fmla="*/ 1242 w 1296"/>
                  <a:gd name="T7" fmla="*/ 800 h 1296"/>
                  <a:gd name="T8" fmla="*/ 1202 w 1296"/>
                  <a:gd name="T9" fmla="*/ 914 h 1296"/>
                  <a:gd name="T10" fmla="*/ 1140 w 1296"/>
                  <a:gd name="T11" fmla="*/ 1014 h 1296"/>
                  <a:gd name="T12" fmla="*/ 1060 w 1296"/>
                  <a:gd name="T13" fmla="*/ 1102 h 1296"/>
                  <a:gd name="T14" fmla="*/ 966 w 1296"/>
                  <a:gd name="T15" fmla="*/ 1172 h 1296"/>
                  <a:gd name="T16" fmla="*/ 860 w 1296"/>
                  <a:gd name="T17" fmla="*/ 1224 h 1296"/>
                  <a:gd name="T18" fmla="*/ 742 w 1296"/>
                  <a:gd name="T19" fmla="*/ 1254 h 1296"/>
                  <a:gd name="T20" fmla="*/ 648 w 1296"/>
                  <a:gd name="T21" fmla="*/ 1260 h 1296"/>
                  <a:gd name="T22" fmla="*/ 526 w 1296"/>
                  <a:gd name="T23" fmla="*/ 1248 h 1296"/>
                  <a:gd name="T24" fmla="*/ 410 w 1296"/>
                  <a:gd name="T25" fmla="*/ 1212 h 1296"/>
                  <a:gd name="T26" fmla="*/ 306 w 1296"/>
                  <a:gd name="T27" fmla="*/ 1156 h 1296"/>
                  <a:gd name="T28" fmla="*/ 216 w 1296"/>
                  <a:gd name="T29" fmla="*/ 1082 h 1296"/>
                  <a:gd name="T30" fmla="*/ 140 w 1296"/>
                  <a:gd name="T31" fmla="*/ 990 h 1296"/>
                  <a:gd name="T32" fmla="*/ 84 w 1296"/>
                  <a:gd name="T33" fmla="*/ 886 h 1296"/>
                  <a:gd name="T34" fmla="*/ 48 w 1296"/>
                  <a:gd name="T35" fmla="*/ 772 h 1296"/>
                  <a:gd name="T36" fmla="*/ 36 w 1296"/>
                  <a:gd name="T37" fmla="*/ 648 h 1296"/>
                  <a:gd name="T38" fmla="*/ 44 w 1296"/>
                  <a:gd name="T39" fmla="*/ 554 h 1296"/>
                  <a:gd name="T40" fmla="*/ 74 w 1296"/>
                  <a:gd name="T41" fmla="*/ 438 h 1296"/>
                  <a:gd name="T42" fmla="*/ 124 w 1296"/>
                  <a:gd name="T43" fmla="*/ 330 h 1296"/>
                  <a:gd name="T44" fmla="*/ 196 w 1296"/>
                  <a:gd name="T45" fmla="*/ 236 h 1296"/>
                  <a:gd name="T46" fmla="*/ 282 w 1296"/>
                  <a:gd name="T47" fmla="*/ 156 h 1296"/>
                  <a:gd name="T48" fmla="*/ 384 w 1296"/>
                  <a:gd name="T49" fmla="*/ 96 h 1296"/>
                  <a:gd name="T50" fmla="*/ 496 w 1296"/>
                  <a:gd name="T51" fmla="*/ 54 h 1296"/>
                  <a:gd name="T52" fmla="*/ 618 w 1296"/>
                  <a:gd name="T53" fmla="*/ 36 h 1296"/>
                  <a:gd name="T54" fmla="*/ 732 w 1296"/>
                  <a:gd name="T55" fmla="*/ 40 h 1296"/>
                  <a:gd name="T56" fmla="*/ 886 w 1296"/>
                  <a:gd name="T57" fmla="*/ 82 h 1296"/>
                  <a:gd name="T58" fmla="*/ 1022 w 1296"/>
                  <a:gd name="T59" fmla="*/ 162 h 1296"/>
                  <a:gd name="T60" fmla="*/ 1132 w 1296"/>
                  <a:gd name="T61" fmla="*/ 272 h 1296"/>
                  <a:gd name="T62" fmla="*/ 1206 w 1296"/>
                  <a:gd name="T63" fmla="*/ 318 h 1296"/>
                  <a:gd name="T64" fmla="*/ 1106 w 1296"/>
                  <a:gd name="T65" fmla="*/ 188 h 1296"/>
                  <a:gd name="T66" fmla="*/ 974 w 1296"/>
                  <a:gd name="T67" fmla="*/ 88 h 1296"/>
                  <a:gd name="T68" fmla="*/ 820 w 1296"/>
                  <a:gd name="T69" fmla="*/ 22 h 1296"/>
                  <a:gd name="T70" fmla="*/ 648 w 1296"/>
                  <a:gd name="T71" fmla="*/ 0 h 1296"/>
                  <a:gd name="T72" fmla="*/ 550 w 1296"/>
                  <a:gd name="T73" fmla="*/ 8 h 1296"/>
                  <a:gd name="T74" fmla="*/ 426 w 1296"/>
                  <a:gd name="T75" fmla="*/ 40 h 1296"/>
                  <a:gd name="T76" fmla="*/ 312 w 1296"/>
                  <a:gd name="T77" fmla="*/ 94 h 1296"/>
                  <a:gd name="T78" fmla="*/ 214 w 1296"/>
                  <a:gd name="T79" fmla="*/ 168 h 1296"/>
                  <a:gd name="T80" fmla="*/ 130 w 1296"/>
                  <a:gd name="T81" fmla="*/ 260 h 1296"/>
                  <a:gd name="T82" fmla="*/ 64 w 1296"/>
                  <a:gd name="T83" fmla="*/ 366 h 1296"/>
                  <a:gd name="T84" fmla="*/ 22 w 1296"/>
                  <a:gd name="T85" fmla="*/ 486 h 1296"/>
                  <a:gd name="T86" fmla="*/ 2 w 1296"/>
                  <a:gd name="T87" fmla="*/ 614 h 1296"/>
                  <a:gd name="T88" fmla="*/ 4 w 1296"/>
                  <a:gd name="T89" fmla="*/ 714 h 1296"/>
                  <a:gd name="T90" fmla="*/ 30 w 1296"/>
                  <a:gd name="T91" fmla="*/ 840 h 1296"/>
                  <a:gd name="T92" fmla="*/ 78 w 1296"/>
                  <a:gd name="T93" fmla="*/ 956 h 1296"/>
                  <a:gd name="T94" fmla="*/ 148 w 1296"/>
                  <a:gd name="T95" fmla="*/ 1060 h 1296"/>
                  <a:gd name="T96" fmla="*/ 236 w 1296"/>
                  <a:gd name="T97" fmla="*/ 1148 h 1296"/>
                  <a:gd name="T98" fmla="*/ 340 w 1296"/>
                  <a:gd name="T99" fmla="*/ 1218 h 1296"/>
                  <a:gd name="T100" fmla="*/ 456 w 1296"/>
                  <a:gd name="T101" fmla="*/ 1266 h 1296"/>
                  <a:gd name="T102" fmla="*/ 582 w 1296"/>
                  <a:gd name="T103" fmla="*/ 1292 h 1296"/>
                  <a:gd name="T104" fmla="*/ 682 w 1296"/>
                  <a:gd name="T105" fmla="*/ 1294 h 1296"/>
                  <a:gd name="T106" fmla="*/ 810 w 1296"/>
                  <a:gd name="T107" fmla="*/ 1276 h 1296"/>
                  <a:gd name="T108" fmla="*/ 930 w 1296"/>
                  <a:gd name="T109" fmla="*/ 1232 h 1296"/>
                  <a:gd name="T110" fmla="*/ 1036 w 1296"/>
                  <a:gd name="T111" fmla="*/ 1168 h 1296"/>
                  <a:gd name="T112" fmla="*/ 1128 w 1296"/>
                  <a:gd name="T113" fmla="*/ 1084 h 1296"/>
                  <a:gd name="T114" fmla="*/ 1202 w 1296"/>
                  <a:gd name="T115" fmla="*/ 984 h 1296"/>
                  <a:gd name="T116" fmla="*/ 1258 w 1296"/>
                  <a:gd name="T117" fmla="*/ 870 h 1296"/>
                  <a:gd name="T118" fmla="*/ 1290 w 1296"/>
                  <a:gd name="T119" fmla="*/ 746 h 1296"/>
                  <a:gd name="T120" fmla="*/ 1296 w 1296"/>
                  <a:gd name="T121" fmla="*/ 648 h 1296"/>
                  <a:gd name="T122" fmla="*/ 1280 w 1296"/>
                  <a:gd name="T123" fmla="*/ 500 h 1296"/>
                  <a:gd name="T124" fmla="*/ 1230 w 1296"/>
                  <a:gd name="T125" fmla="*/ 362 h 1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96" h="1296">
                    <a:moveTo>
                      <a:pt x="1200" y="380"/>
                    </a:moveTo>
                    <a:lnTo>
                      <a:pt x="1200" y="380"/>
                    </a:lnTo>
                    <a:lnTo>
                      <a:pt x="1214" y="412"/>
                    </a:lnTo>
                    <a:lnTo>
                      <a:pt x="1226" y="442"/>
                    </a:lnTo>
                    <a:lnTo>
                      <a:pt x="1236" y="476"/>
                    </a:lnTo>
                    <a:lnTo>
                      <a:pt x="1246" y="508"/>
                    </a:lnTo>
                    <a:lnTo>
                      <a:pt x="1252" y="542"/>
                    </a:lnTo>
                    <a:lnTo>
                      <a:pt x="1258" y="576"/>
                    </a:lnTo>
                    <a:lnTo>
                      <a:pt x="1260" y="612"/>
                    </a:lnTo>
                    <a:lnTo>
                      <a:pt x="1262" y="648"/>
                    </a:lnTo>
                    <a:lnTo>
                      <a:pt x="1262" y="648"/>
                    </a:lnTo>
                    <a:lnTo>
                      <a:pt x="1260" y="680"/>
                    </a:lnTo>
                    <a:lnTo>
                      <a:pt x="1258" y="710"/>
                    </a:lnTo>
                    <a:lnTo>
                      <a:pt x="1254" y="742"/>
                    </a:lnTo>
                    <a:lnTo>
                      <a:pt x="1250" y="772"/>
                    </a:lnTo>
                    <a:lnTo>
                      <a:pt x="1242" y="800"/>
                    </a:lnTo>
                    <a:lnTo>
                      <a:pt x="1234" y="830"/>
                    </a:lnTo>
                    <a:lnTo>
                      <a:pt x="1224" y="858"/>
                    </a:lnTo>
                    <a:lnTo>
                      <a:pt x="1214" y="886"/>
                    </a:lnTo>
                    <a:lnTo>
                      <a:pt x="1202" y="914"/>
                    </a:lnTo>
                    <a:lnTo>
                      <a:pt x="1188" y="940"/>
                    </a:lnTo>
                    <a:lnTo>
                      <a:pt x="1172" y="966"/>
                    </a:lnTo>
                    <a:lnTo>
                      <a:pt x="1156" y="990"/>
                    </a:lnTo>
                    <a:lnTo>
                      <a:pt x="1140" y="1014"/>
                    </a:lnTo>
                    <a:lnTo>
                      <a:pt x="1122" y="1038"/>
                    </a:lnTo>
                    <a:lnTo>
                      <a:pt x="1102" y="1060"/>
                    </a:lnTo>
                    <a:lnTo>
                      <a:pt x="1082" y="1082"/>
                    </a:lnTo>
                    <a:lnTo>
                      <a:pt x="1060" y="1102"/>
                    </a:lnTo>
                    <a:lnTo>
                      <a:pt x="1038" y="1120"/>
                    </a:lnTo>
                    <a:lnTo>
                      <a:pt x="1016" y="1138"/>
                    </a:lnTo>
                    <a:lnTo>
                      <a:pt x="992" y="1156"/>
                    </a:lnTo>
                    <a:lnTo>
                      <a:pt x="966" y="1172"/>
                    </a:lnTo>
                    <a:lnTo>
                      <a:pt x="940" y="1186"/>
                    </a:lnTo>
                    <a:lnTo>
                      <a:pt x="914" y="1200"/>
                    </a:lnTo>
                    <a:lnTo>
                      <a:pt x="888" y="1212"/>
                    </a:lnTo>
                    <a:lnTo>
                      <a:pt x="860" y="1224"/>
                    </a:lnTo>
                    <a:lnTo>
                      <a:pt x="830" y="1232"/>
                    </a:lnTo>
                    <a:lnTo>
                      <a:pt x="802" y="1242"/>
                    </a:lnTo>
                    <a:lnTo>
                      <a:pt x="772" y="1248"/>
                    </a:lnTo>
                    <a:lnTo>
                      <a:pt x="742" y="1254"/>
                    </a:lnTo>
                    <a:lnTo>
                      <a:pt x="712" y="1258"/>
                    </a:lnTo>
                    <a:lnTo>
                      <a:pt x="680" y="1260"/>
                    </a:lnTo>
                    <a:lnTo>
                      <a:pt x="648" y="1260"/>
                    </a:lnTo>
                    <a:lnTo>
                      <a:pt x="648" y="1260"/>
                    </a:lnTo>
                    <a:lnTo>
                      <a:pt x="618" y="1260"/>
                    </a:lnTo>
                    <a:lnTo>
                      <a:pt x="586" y="1258"/>
                    </a:lnTo>
                    <a:lnTo>
                      <a:pt x="556" y="1254"/>
                    </a:lnTo>
                    <a:lnTo>
                      <a:pt x="526" y="1248"/>
                    </a:lnTo>
                    <a:lnTo>
                      <a:pt x="496" y="1242"/>
                    </a:lnTo>
                    <a:lnTo>
                      <a:pt x="466" y="1232"/>
                    </a:lnTo>
                    <a:lnTo>
                      <a:pt x="438" y="1224"/>
                    </a:lnTo>
                    <a:lnTo>
                      <a:pt x="410" y="1212"/>
                    </a:lnTo>
                    <a:lnTo>
                      <a:pt x="384" y="1200"/>
                    </a:lnTo>
                    <a:lnTo>
                      <a:pt x="356" y="1186"/>
                    </a:lnTo>
                    <a:lnTo>
                      <a:pt x="332" y="1172"/>
                    </a:lnTo>
                    <a:lnTo>
                      <a:pt x="306" y="1156"/>
                    </a:lnTo>
                    <a:lnTo>
                      <a:pt x="282" y="1138"/>
                    </a:lnTo>
                    <a:lnTo>
                      <a:pt x="258" y="1120"/>
                    </a:lnTo>
                    <a:lnTo>
                      <a:pt x="236" y="1102"/>
                    </a:lnTo>
                    <a:lnTo>
                      <a:pt x="216" y="1082"/>
                    </a:lnTo>
                    <a:lnTo>
                      <a:pt x="196" y="1060"/>
                    </a:lnTo>
                    <a:lnTo>
                      <a:pt x="176" y="1038"/>
                    </a:lnTo>
                    <a:lnTo>
                      <a:pt x="158" y="1014"/>
                    </a:lnTo>
                    <a:lnTo>
                      <a:pt x="140" y="990"/>
                    </a:lnTo>
                    <a:lnTo>
                      <a:pt x="124" y="966"/>
                    </a:lnTo>
                    <a:lnTo>
                      <a:pt x="110" y="940"/>
                    </a:lnTo>
                    <a:lnTo>
                      <a:pt x="96" y="914"/>
                    </a:lnTo>
                    <a:lnTo>
                      <a:pt x="84" y="886"/>
                    </a:lnTo>
                    <a:lnTo>
                      <a:pt x="74" y="858"/>
                    </a:lnTo>
                    <a:lnTo>
                      <a:pt x="64" y="830"/>
                    </a:lnTo>
                    <a:lnTo>
                      <a:pt x="56" y="800"/>
                    </a:lnTo>
                    <a:lnTo>
                      <a:pt x="48" y="772"/>
                    </a:lnTo>
                    <a:lnTo>
                      <a:pt x="44" y="742"/>
                    </a:lnTo>
                    <a:lnTo>
                      <a:pt x="40" y="710"/>
                    </a:lnTo>
                    <a:lnTo>
                      <a:pt x="36" y="680"/>
                    </a:lnTo>
                    <a:lnTo>
                      <a:pt x="36" y="648"/>
                    </a:lnTo>
                    <a:lnTo>
                      <a:pt x="36" y="648"/>
                    </a:lnTo>
                    <a:lnTo>
                      <a:pt x="36" y="616"/>
                    </a:lnTo>
                    <a:lnTo>
                      <a:pt x="40" y="586"/>
                    </a:lnTo>
                    <a:lnTo>
                      <a:pt x="44" y="554"/>
                    </a:lnTo>
                    <a:lnTo>
                      <a:pt x="48" y="524"/>
                    </a:lnTo>
                    <a:lnTo>
                      <a:pt x="56" y="494"/>
                    </a:lnTo>
                    <a:lnTo>
                      <a:pt x="64" y="466"/>
                    </a:lnTo>
                    <a:lnTo>
                      <a:pt x="74" y="438"/>
                    </a:lnTo>
                    <a:lnTo>
                      <a:pt x="84" y="410"/>
                    </a:lnTo>
                    <a:lnTo>
                      <a:pt x="96" y="382"/>
                    </a:lnTo>
                    <a:lnTo>
                      <a:pt x="110" y="356"/>
                    </a:lnTo>
                    <a:lnTo>
                      <a:pt x="124" y="330"/>
                    </a:lnTo>
                    <a:lnTo>
                      <a:pt x="140" y="306"/>
                    </a:lnTo>
                    <a:lnTo>
                      <a:pt x="158" y="282"/>
                    </a:lnTo>
                    <a:lnTo>
                      <a:pt x="176" y="258"/>
                    </a:lnTo>
                    <a:lnTo>
                      <a:pt x="196" y="236"/>
                    </a:lnTo>
                    <a:lnTo>
                      <a:pt x="216" y="214"/>
                    </a:lnTo>
                    <a:lnTo>
                      <a:pt x="236" y="194"/>
                    </a:lnTo>
                    <a:lnTo>
                      <a:pt x="258" y="174"/>
                    </a:lnTo>
                    <a:lnTo>
                      <a:pt x="282" y="156"/>
                    </a:lnTo>
                    <a:lnTo>
                      <a:pt x="306" y="140"/>
                    </a:lnTo>
                    <a:lnTo>
                      <a:pt x="332" y="124"/>
                    </a:lnTo>
                    <a:lnTo>
                      <a:pt x="356" y="108"/>
                    </a:lnTo>
                    <a:lnTo>
                      <a:pt x="384" y="96"/>
                    </a:lnTo>
                    <a:lnTo>
                      <a:pt x="410" y="84"/>
                    </a:lnTo>
                    <a:lnTo>
                      <a:pt x="438" y="72"/>
                    </a:lnTo>
                    <a:lnTo>
                      <a:pt x="466" y="62"/>
                    </a:lnTo>
                    <a:lnTo>
                      <a:pt x="496" y="54"/>
                    </a:lnTo>
                    <a:lnTo>
                      <a:pt x="526" y="48"/>
                    </a:lnTo>
                    <a:lnTo>
                      <a:pt x="556" y="42"/>
                    </a:lnTo>
                    <a:lnTo>
                      <a:pt x="586" y="38"/>
                    </a:lnTo>
                    <a:lnTo>
                      <a:pt x="618" y="36"/>
                    </a:lnTo>
                    <a:lnTo>
                      <a:pt x="648" y="34"/>
                    </a:lnTo>
                    <a:lnTo>
                      <a:pt x="648" y="34"/>
                    </a:lnTo>
                    <a:lnTo>
                      <a:pt x="690" y="36"/>
                    </a:lnTo>
                    <a:lnTo>
                      <a:pt x="732" y="40"/>
                    </a:lnTo>
                    <a:lnTo>
                      <a:pt x="772" y="48"/>
                    </a:lnTo>
                    <a:lnTo>
                      <a:pt x="810" y="56"/>
                    </a:lnTo>
                    <a:lnTo>
                      <a:pt x="850" y="68"/>
                    </a:lnTo>
                    <a:lnTo>
                      <a:pt x="886" y="82"/>
                    </a:lnTo>
                    <a:lnTo>
                      <a:pt x="922" y="100"/>
                    </a:lnTo>
                    <a:lnTo>
                      <a:pt x="956" y="118"/>
                    </a:lnTo>
                    <a:lnTo>
                      <a:pt x="990" y="138"/>
                    </a:lnTo>
                    <a:lnTo>
                      <a:pt x="1022" y="162"/>
                    </a:lnTo>
                    <a:lnTo>
                      <a:pt x="1052" y="186"/>
                    </a:lnTo>
                    <a:lnTo>
                      <a:pt x="1080" y="212"/>
                    </a:lnTo>
                    <a:lnTo>
                      <a:pt x="1108" y="242"/>
                    </a:lnTo>
                    <a:lnTo>
                      <a:pt x="1132" y="272"/>
                    </a:lnTo>
                    <a:lnTo>
                      <a:pt x="1156" y="302"/>
                    </a:lnTo>
                    <a:lnTo>
                      <a:pt x="1176" y="336"/>
                    </a:lnTo>
                    <a:lnTo>
                      <a:pt x="1206" y="318"/>
                    </a:lnTo>
                    <a:lnTo>
                      <a:pt x="1206" y="318"/>
                    </a:lnTo>
                    <a:lnTo>
                      <a:pt x="1184" y="282"/>
                    </a:lnTo>
                    <a:lnTo>
                      <a:pt x="1160" y="250"/>
                    </a:lnTo>
                    <a:lnTo>
                      <a:pt x="1134" y="218"/>
                    </a:lnTo>
                    <a:lnTo>
                      <a:pt x="1106" y="188"/>
                    </a:lnTo>
                    <a:lnTo>
                      <a:pt x="1074" y="160"/>
                    </a:lnTo>
                    <a:lnTo>
                      <a:pt x="1044" y="134"/>
                    </a:lnTo>
                    <a:lnTo>
                      <a:pt x="1010" y="110"/>
                    </a:lnTo>
                    <a:lnTo>
                      <a:pt x="974" y="88"/>
                    </a:lnTo>
                    <a:lnTo>
                      <a:pt x="938" y="68"/>
                    </a:lnTo>
                    <a:lnTo>
                      <a:pt x="900" y="50"/>
                    </a:lnTo>
                    <a:lnTo>
                      <a:pt x="860" y="36"/>
                    </a:lnTo>
                    <a:lnTo>
                      <a:pt x="820" y="22"/>
                    </a:lnTo>
                    <a:lnTo>
                      <a:pt x="778" y="12"/>
                    </a:lnTo>
                    <a:lnTo>
                      <a:pt x="736" y="6"/>
                    </a:lnTo>
                    <a:lnTo>
                      <a:pt x="692" y="2"/>
                    </a:lnTo>
                    <a:lnTo>
                      <a:pt x="648" y="0"/>
                    </a:lnTo>
                    <a:lnTo>
                      <a:pt x="648" y="0"/>
                    </a:lnTo>
                    <a:lnTo>
                      <a:pt x="616" y="0"/>
                    </a:lnTo>
                    <a:lnTo>
                      <a:pt x="582" y="4"/>
                    </a:lnTo>
                    <a:lnTo>
                      <a:pt x="550" y="8"/>
                    </a:lnTo>
                    <a:lnTo>
                      <a:pt x="518" y="12"/>
                    </a:lnTo>
                    <a:lnTo>
                      <a:pt x="486" y="20"/>
                    </a:lnTo>
                    <a:lnTo>
                      <a:pt x="456" y="28"/>
                    </a:lnTo>
                    <a:lnTo>
                      <a:pt x="426" y="40"/>
                    </a:lnTo>
                    <a:lnTo>
                      <a:pt x="396" y="50"/>
                    </a:lnTo>
                    <a:lnTo>
                      <a:pt x="368" y="64"/>
                    </a:lnTo>
                    <a:lnTo>
                      <a:pt x="340" y="78"/>
                    </a:lnTo>
                    <a:lnTo>
                      <a:pt x="312" y="94"/>
                    </a:lnTo>
                    <a:lnTo>
                      <a:pt x="286" y="110"/>
                    </a:lnTo>
                    <a:lnTo>
                      <a:pt x="262" y="128"/>
                    </a:lnTo>
                    <a:lnTo>
                      <a:pt x="236" y="148"/>
                    </a:lnTo>
                    <a:lnTo>
                      <a:pt x="214" y="168"/>
                    </a:lnTo>
                    <a:lnTo>
                      <a:pt x="190" y="190"/>
                    </a:lnTo>
                    <a:lnTo>
                      <a:pt x="170" y="212"/>
                    </a:lnTo>
                    <a:lnTo>
                      <a:pt x="148" y="236"/>
                    </a:lnTo>
                    <a:lnTo>
                      <a:pt x="130" y="260"/>
                    </a:lnTo>
                    <a:lnTo>
                      <a:pt x="112" y="286"/>
                    </a:lnTo>
                    <a:lnTo>
                      <a:pt x="94" y="312"/>
                    </a:lnTo>
                    <a:lnTo>
                      <a:pt x="78" y="338"/>
                    </a:lnTo>
                    <a:lnTo>
                      <a:pt x="64" y="366"/>
                    </a:lnTo>
                    <a:lnTo>
                      <a:pt x="52" y="396"/>
                    </a:lnTo>
                    <a:lnTo>
                      <a:pt x="40" y="424"/>
                    </a:lnTo>
                    <a:lnTo>
                      <a:pt x="30" y="456"/>
                    </a:lnTo>
                    <a:lnTo>
                      <a:pt x="22" y="486"/>
                    </a:lnTo>
                    <a:lnTo>
                      <a:pt x="14" y="518"/>
                    </a:lnTo>
                    <a:lnTo>
                      <a:pt x="8" y="550"/>
                    </a:lnTo>
                    <a:lnTo>
                      <a:pt x="4" y="582"/>
                    </a:lnTo>
                    <a:lnTo>
                      <a:pt x="2" y="614"/>
                    </a:lnTo>
                    <a:lnTo>
                      <a:pt x="0" y="648"/>
                    </a:lnTo>
                    <a:lnTo>
                      <a:pt x="0" y="648"/>
                    </a:lnTo>
                    <a:lnTo>
                      <a:pt x="2" y="682"/>
                    </a:lnTo>
                    <a:lnTo>
                      <a:pt x="4" y="714"/>
                    </a:lnTo>
                    <a:lnTo>
                      <a:pt x="8" y="746"/>
                    </a:lnTo>
                    <a:lnTo>
                      <a:pt x="14" y="778"/>
                    </a:lnTo>
                    <a:lnTo>
                      <a:pt x="22" y="810"/>
                    </a:lnTo>
                    <a:lnTo>
                      <a:pt x="30" y="840"/>
                    </a:lnTo>
                    <a:lnTo>
                      <a:pt x="40" y="870"/>
                    </a:lnTo>
                    <a:lnTo>
                      <a:pt x="52" y="900"/>
                    </a:lnTo>
                    <a:lnTo>
                      <a:pt x="64" y="928"/>
                    </a:lnTo>
                    <a:lnTo>
                      <a:pt x="78" y="956"/>
                    </a:lnTo>
                    <a:lnTo>
                      <a:pt x="94" y="984"/>
                    </a:lnTo>
                    <a:lnTo>
                      <a:pt x="112" y="1010"/>
                    </a:lnTo>
                    <a:lnTo>
                      <a:pt x="130" y="1036"/>
                    </a:lnTo>
                    <a:lnTo>
                      <a:pt x="148" y="1060"/>
                    </a:lnTo>
                    <a:lnTo>
                      <a:pt x="170" y="1084"/>
                    </a:lnTo>
                    <a:lnTo>
                      <a:pt x="190" y="1106"/>
                    </a:lnTo>
                    <a:lnTo>
                      <a:pt x="214" y="1128"/>
                    </a:lnTo>
                    <a:lnTo>
                      <a:pt x="236" y="1148"/>
                    </a:lnTo>
                    <a:lnTo>
                      <a:pt x="262" y="1168"/>
                    </a:lnTo>
                    <a:lnTo>
                      <a:pt x="286" y="1186"/>
                    </a:lnTo>
                    <a:lnTo>
                      <a:pt x="312" y="1202"/>
                    </a:lnTo>
                    <a:lnTo>
                      <a:pt x="340" y="1218"/>
                    </a:lnTo>
                    <a:lnTo>
                      <a:pt x="368" y="1232"/>
                    </a:lnTo>
                    <a:lnTo>
                      <a:pt x="396" y="1244"/>
                    </a:lnTo>
                    <a:lnTo>
                      <a:pt x="426" y="1256"/>
                    </a:lnTo>
                    <a:lnTo>
                      <a:pt x="456" y="1266"/>
                    </a:lnTo>
                    <a:lnTo>
                      <a:pt x="486" y="1276"/>
                    </a:lnTo>
                    <a:lnTo>
                      <a:pt x="518" y="1282"/>
                    </a:lnTo>
                    <a:lnTo>
                      <a:pt x="550" y="1288"/>
                    </a:lnTo>
                    <a:lnTo>
                      <a:pt x="582" y="1292"/>
                    </a:lnTo>
                    <a:lnTo>
                      <a:pt x="616" y="1294"/>
                    </a:lnTo>
                    <a:lnTo>
                      <a:pt x="648" y="1296"/>
                    </a:lnTo>
                    <a:lnTo>
                      <a:pt x="648" y="1296"/>
                    </a:lnTo>
                    <a:lnTo>
                      <a:pt x="682" y="1294"/>
                    </a:lnTo>
                    <a:lnTo>
                      <a:pt x="716" y="1292"/>
                    </a:lnTo>
                    <a:lnTo>
                      <a:pt x="748" y="1288"/>
                    </a:lnTo>
                    <a:lnTo>
                      <a:pt x="780" y="1282"/>
                    </a:lnTo>
                    <a:lnTo>
                      <a:pt x="810" y="1276"/>
                    </a:lnTo>
                    <a:lnTo>
                      <a:pt x="842" y="1266"/>
                    </a:lnTo>
                    <a:lnTo>
                      <a:pt x="872" y="1256"/>
                    </a:lnTo>
                    <a:lnTo>
                      <a:pt x="900" y="1244"/>
                    </a:lnTo>
                    <a:lnTo>
                      <a:pt x="930" y="1232"/>
                    </a:lnTo>
                    <a:lnTo>
                      <a:pt x="958" y="1218"/>
                    </a:lnTo>
                    <a:lnTo>
                      <a:pt x="984" y="1202"/>
                    </a:lnTo>
                    <a:lnTo>
                      <a:pt x="1012" y="1186"/>
                    </a:lnTo>
                    <a:lnTo>
                      <a:pt x="1036" y="1168"/>
                    </a:lnTo>
                    <a:lnTo>
                      <a:pt x="1060" y="1148"/>
                    </a:lnTo>
                    <a:lnTo>
                      <a:pt x="1084" y="1128"/>
                    </a:lnTo>
                    <a:lnTo>
                      <a:pt x="1106" y="1106"/>
                    </a:lnTo>
                    <a:lnTo>
                      <a:pt x="1128" y="1084"/>
                    </a:lnTo>
                    <a:lnTo>
                      <a:pt x="1148" y="1060"/>
                    </a:lnTo>
                    <a:lnTo>
                      <a:pt x="1168" y="1036"/>
                    </a:lnTo>
                    <a:lnTo>
                      <a:pt x="1186" y="1010"/>
                    </a:lnTo>
                    <a:lnTo>
                      <a:pt x="1202" y="984"/>
                    </a:lnTo>
                    <a:lnTo>
                      <a:pt x="1218" y="956"/>
                    </a:lnTo>
                    <a:lnTo>
                      <a:pt x="1232" y="928"/>
                    </a:lnTo>
                    <a:lnTo>
                      <a:pt x="1246" y="900"/>
                    </a:lnTo>
                    <a:lnTo>
                      <a:pt x="1258" y="870"/>
                    </a:lnTo>
                    <a:lnTo>
                      <a:pt x="1268" y="840"/>
                    </a:lnTo>
                    <a:lnTo>
                      <a:pt x="1276" y="810"/>
                    </a:lnTo>
                    <a:lnTo>
                      <a:pt x="1284" y="778"/>
                    </a:lnTo>
                    <a:lnTo>
                      <a:pt x="1290" y="746"/>
                    </a:lnTo>
                    <a:lnTo>
                      <a:pt x="1294" y="714"/>
                    </a:lnTo>
                    <a:lnTo>
                      <a:pt x="1296" y="682"/>
                    </a:lnTo>
                    <a:lnTo>
                      <a:pt x="1296" y="648"/>
                    </a:lnTo>
                    <a:lnTo>
                      <a:pt x="1296" y="648"/>
                    </a:lnTo>
                    <a:lnTo>
                      <a:pt x="1296" y="610"/>
                    </a:lnTo>
                    <a:lnTo>
                      <a:pt x="1292" y="572"/>
                    </a:lnTo>
                    <a:lnTo>
                      <a:pt x="1288" y="536"/>
                    </a:lnTo>
                    <a:lnTo>
                      <a:pt x="1280" y="500"/>
                    </a:lnTo>
                    <a:lnTo>
                      <a:pt x="1270" y="464"/>
                    </a:lnTo>
                    <a:lnTo>
                      <a:pt x="1258" y="430"/>
                    </a:lnTo>
                    <a:lnTo>
                      <a:pt x="1246" y="396"/>
                    </a:lnTo>
                    <a:lnTo>
                      <a:pt x="1230" y="362"/>
                    </a:lnTo>
                    <a:lnTo>
                      <a:pt x="1200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0" name="Group 99"/>
          <p:cNvGrpSpPr/>
          <p:nvPr/>
        </p:nvGrpSpPr>
        <p:grpSpPr>
          <a:xfrm>
            <a:off x="4125686" y="3585029"/>
            <a:ext cx="889000" cy="889000"/>
            <a:chOff x="4125686" y="3585029"/>
            <a:chExt cx="889000" cy="889000"/>
          </a:xfrm>
        </p:grpSpPr>
        <p:sp>
          <p:nvSpPr>
            <p:cNvPr id="75" name="Oval 74"/>
            <p:cNvSpPr/>
            <p:nvPr/>
          </p:nvSpPr>
          <p:spPr>
            <a:xfrm>
              <a:off x="4125686" y="3585029"/>
              <a:ext cx="889000" cy="889000"/>
            </a:xfrm>
            <a:prstGeom prst="ellipse">
              <a:avLst/>
            </a:prstGeom>
            <a:solidFill>
              <a:srgbClr val="F0B71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4264238" y="3843807"/>
              <a:ext cx="615524" cy="334803"/>
              <a:chOff x="412750" y="3843338"/>
              <a:chExt cx="379413" cy="206375"/>
            </a:xfrm>
            <a:solidFill>
              <a:schemeClr val="bg1"/>
            </a:solidFill>
          </p:grpSpPr>
          <p:sp>
            <p:nvSpPr>
              <p:cNvPr id="85" name="Freeform 235"/>
              <p:cNvSpPr>
                <a:spLocks/>
              </p:cNvSpPr>
              <p:nvPr/>
            </p:nvSpPr>
            <p:spPr bwMode="auto">
              <a:xfrm>
                <a:off x="495300" y="3843338"/>
                <a:ext cx="215900" cy="206375"/>
              </a:xfrm>
              <a:custGeom>
                <a:avLst/>
                <a:gdLst>
                  <a:gd name="T0" fmla="*/ 363 w 681"/>
                  <a:gd name="T1" fmla="*/ 1 h 649"/>
                  <a:gd name="T2" fmla="*/ 394 w 681"/>
                  <a:gd name="T3" fmla="*/ 8 h 649"/>
                  <a:gd name="T4" fmla="*/ 419 w 681"/>
                  <a:gd name="T5" fmla="*/ 26 h 649"/>
                  <a:gd name="T6" fmla="*/ 454 w 681"/>
                  <a:gd name="T7" fmla="*/ 70 h 649"/>
                  <a:gd name="T8" fmla="*/ 468 w 681"/>
                  <a:gd name="T9" fmla="*/ 101 h 649"/>
                  <a:gd name="T10" fmla="*/ 472 w 681"/>
                  <a:gd name="T11" fmla="*/ 126 h 649"/>
                  <a:gd name="T12" fmla="*/ 471 w 681"/>
                  <a:gd name="T13" fmla="*/ 153 h 649"/>
                  <a:gd name="T14" fmla="*/ 461 w 681"/>
                  <a:gd name="T15" fmla="*/ 213 h 649"/>
                  <a:gd name="T16" fmla="*/ 471 w 681"/>
                  <a:gd name="T17" fmla="*/ 210 h 649"/>
                  <a:gd name="T18" fmla="*/ 479 w 681"/>
                  <a:gd name="T19" fmla="*/ 215 h 649"/>
                  <a:gd name="T20" fmla="*/ 472 w 681"/>
                  <a:gd name="T21" fmla="*/ 275 h 649"/>
                  <a:gd name="T22" fmla="*/ 463 w 681"/>
                  <a:gd name="T23" fmla="*/ 306 h 649"/>
                  <a:gd name="T24" fmla="*/ 458 w 681"/>
                  <a:gd name="T25" fmla="*/ 312 h 649"/>
                  <a:gd name="T26" fmla="*/ 447 w 681"/>
                  <a:gd name="T27" fmla="*/ 316 h 649"/>
                  <a:gd name="T28" fmla="*/ 442 w 681"/>
                  <a:gd name="T29" fmla="*/ 351 h 649"/>
                  <a:gd name="T30" fmla="*/ 423 w 681"/>
                  <a:gd name="T31" fmla="*/ 379 h 649"/>
                  <a:gd name="T32" fmla="*/ 434 w 681"/>
                  <a:gd name="T33" fmla="*/ 397 h 649"/>
                  <a:gd name="T34" fmla="*/ 439 w 681"/>
                  <a:gd name="T35" fmla="*/ 417 h 649"/>
                  <a:gd name="T36" fmla="*/ 463 w 681"/>
                  <a:gd name="T37" fmla="*/ 437 h 649"/>
                  <a:gd name="T38" fmla="*/ 529 w 681"/>
                  <a:gd name="T39" fmla="*/ 466 h 649"/>
                  <a:gd name="T40" fmla="*/ 612 w 681"/>
                  <a:gd name="T41" fmla="*/ 501 h 649"/>
                  <a:gd name="T42" fmla="*/ 661 w 681"/>
                  <a:gd name="T43" fmla="*/ 529 h 649"/>
                  <a:gd name="T44" fmla="*/ 678 w 681"/>
                  <a:gd name="T45" fmla="*/ 549 h 649"/>
                  <a:gd name="T46" fmla="*/ 680 w 681"/>
                  <a:gd name="T47" fmla="*/ 575 h 649"/>
                  <a:gd name="T48" fmla="*/ 678 w 681"/>
                  <a:gd name="T49" fmla="*/ 629 h 649"/>
                  <a:gd name="T50" fmla="*/ 340 w 681"/>
                  <a:gd name="T51" fmla="*/ 649 h 649"/>
                  <a:gd name="T52" fmla="*/ 4 w 681"/>
                  <a:gd name="T53" fmla="*/ 629 h 649"/>
                  <a:gd name="T54" fmla="*/ 1 w 681"/>
                  <a:gd name="T55" fmla="*/ 575 h 649"/>
                  <a:gd name="T56" fmla="*/ 4 w 681"/>
                  <a:gd name="T57" fmla="*/ 549 h 649"/>
                  <a:gd name="T58" fmla="*/ 21 w 681"/>
                  <a:gd name="T59" fmla="*/ 529 h 649"/>
                  <a:gd name="T60" fmla="*/ 69 w 681"/>
                  <a:gd name="T61" fmla="*/ 501 h 649"/>
                  <a:gd name="T62" fmla="*/ 153 w 681"/>
                  <a:gd name="T63" fmla="*/ 466 h 649"/>
                  <a:gd name="T64" fmla="*/ 218 w 681"/>
                  <a:gd name="T65" fmla="*/ 437 h 649"/>
                  <a:gd name="T66" fmla="*/ 242 w 681"/>
                  <a:gd name="T67" fmla="*/ 417 h 649"/>
                  <a:gd name="T68" fmla="*/ 248 w 681"/>
                  <a:gd name="T69" fmla="*/ 397 h 649"/>
                  <a:gd name="T70" fmla="*/ 259 w 681"/>
                  <a:gd name="T71" fmla="*/ 379 h 649"/>
                  <a:gd name="T72" fmla="*/ 240 w 681"/>
                  <a:gd name="T73" fmla="*/ 351 h 649"/>
                  <a:gd name="T74" fmla="*/ 234 w 681"/>
                  <a:gd name="T75" fmla="*/ 316 h 649"/>
                  <a:gd name="T76" fmla="*/ 224 w 681"/>
                  <a:gd name="T77" fmla="*/ 312 h 649"/>
                  <a:gd name="T78" fmla="*/ 218 w 681"/>
                  <a:gd name="T79" fmla="*/ 306 h 649"/>
                  <a:gd name="T80" fmla="*/ 209 w 681"/>
                  <a:gd name="T81" fmla="*/ 275 h 649"/>
                  <a:gd name="T82" fmla="*/ 201 w 681"/>
                  <a:gd name="T83" fmla="*/ 216 h 649"/>
                  <a:gd name="T84" fmla="*/ 207 w 681"/>
                  <a:gd name="T85" fmla="*/ 210 h 649"/>
                  <a:gd name="T86" fmla="*/ 213 w 681"/>
                  <a:gd name="T87" fmla="*/ 204 h 649"/>
                  <a:gd name="T88" fmla="*/ 201 w 681"/>
                  <a:gd name="T89" fmla="*/ 164 h 649"/>
                  <a:gd name="T90" fmla="*/ 203 w 681"/>
                  <a:gd name="T91" fmla="*/ 102 h 649"/>
                  <a:gd name="T92" fmla="*/ 211 w 681"/>
                  <a:gd name="T93" fmla="*/ 65 h 649"/>
                  <a:gd name="T94" fmla="*/ 220 w 681"/>
                  <a:gd name="T95" fmla="*/ 44 h 649"/>
                  <a:gd name="T96" fmla="*/ 235 w 681"/>
                  <a:gd name="T97" fmla="*/ 35 h 649"/>
                  <a:gd name="T98" fmla="*/ 248 w 681"/>
                  <a:gd name="T99" fmla="*/ 36 h 649"/>
                  <a:gd name="T100" fmla="*/ 261 w 681"/>
                  <a:gd name="T101" fmla="*/ 26 h 649"/>
                  <a:gd name="T102" fmla="*/ 287 w 681"/>
                  <a:gd name="T103" fmla="*/ 8 h 649"/>
                  <a:gd name="T104" fmla="*/ 319 w 681"/>
                  <a:gd name="T105" fmla="*/ 1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1" h="649">
                    <a:moveTo>
                      <a:pt x="340" y="0"/>
                    </a:moveTo>
                    <a:lnTo>
                      <a:pt x="351" y="0"/>
                    </a:lnTo>
                    <a:lnTo>
                      <a:pt x="363" y="1"/>
                    </a:lnTo>
                    <a:lnTo>
                      <a:pt x="373" y="3"/>
                    </a:lnTo>
                    <a:lnTo>
                      <a:pt x="384" y="5"/>
                    </a:lnTo>
                    <a:lnTo>
                      <a:pt x="394" y="8"/>
                    </a:lnTo>
                    <a:lnTo>
                      <a:pt x="403" y="13"/>
                    </a:lnTo>
                    <a:lnTo>
                      <a:pt x="412" y="18"/>
                    </a:lnTo>
                    <a:lnTo>
                      <a:pt x="419" y="26"/>
                    </a:lnTo>
                    <a:lnTo>
                      <a:pt x="433" y="41"/>
                    </a:lnTo>
                    <a:lnTo>
                      <a:pt x="445" y="56"/>
                    </a:lnTo>
                    <a:lnTo>
                      <a:pt x="454" y="70"/>
                    </a:lnTo>
                    <a:lnTo>
                      <a:pt x="462" y="85"/>
                    </a:lnTo>
                    <a:lnTo>
                      <a:pt x="465" y="93"/>
                    </a:lnTo>
                    <a:lnTo>
                      <a:pt x="468" y="101"/>
                    </a:lnTo>
                    <a:lnTo>
                      <a:pt x="470" y="109"/>
                    </a:lnTo>
                    <a:lnTo>
                      <a:pt x="471" y="117"/>
                    </a:lnTo>
                    <a:lnTo>
                      <a:pt x="472" y="126"/>
                    </a:lnTo>
                    <a:lnTo>
                      <a:pt x="472" y="134"/>
                    </a:lnTo>
                    <a:lnTo>
                      <a:pt x="472" y="144"/>
                    </a:lnTo>
                    <a:lnTo>
                      <a:pt x="471" y="153"/>
                    </a:lnTo>
                    <a:lnTo>
                      <a:pt x="467" y="184"/>
                    </a:lnTo>
                    <a:lnTo>
                      <a:pt x="463" y="204"/>
                    </a:lnTo>
                    <a:lnTo>
                      <a:pt x="461" y="213"/>
                    </a:lnTo>
                    <a:lnTo>
                      <a:pt x="461" y="215"/>
                    </a:lnTo>
                    <a:lnTo>
                      <a:pt x="464" y="214"/>
                    </a:lnTo>
                    <a:lnTo>
                      <a:pt x="471" y="210"/>
                    </a:lnTo>
                    <a:lnTo>
                      <a:pt x="474" y="210"/>
                    </a:lnTo>
                    <a:lnTo>
                      <a:pt x="477" y="211"/>
                    </a:lnTo>
                    <a:lnTo>
                      <a:pt x="479" y="215"/>
                    </a:lnTo>
                    <a:lnTo>
                      <a:pt x="480" y="220"/>
                    </a:lnTo>
                    <a:lnTo>
                      <a:pt x="477" y="244"/>
                    </a:lnTo>
                    <a:lnTo>
                      <a:pt x="472" y="275"/>
                    </a:lnTo>
                    <a:lnTo>
                      <a:pt x="469" y="289"/>
                    </a:lnTo>
                    <a:lnTo>
                      <a:pt x="465" y="302"/>
                    </a:lnTo>
                    <a:lnTo>
                      <a:pt x="463" y="306"/>
                    </a:lnTo>
                    <a:lnTo>
                      <a:pt x="462" y="310"/>
                    </a:lnTo>
                    <a:lnTo>
                      <a:pt x="460" y="312"/>
                    </a:lnTo>
                    <a:lnTo>
                      <a:pt x="458" y="312"/>
                    </a:lnTo>
                    <a:lnTo>
                      <a:pt x="450" y="310"/>
                    </a:lnTo>
                    <a:lnTo>
                      <a:pt x="449" y="310"/>
                    </a:lnTo>
                    <a:lnTo>
                      <a:pt x="447" y="316"/>
                    </a:lnTo>
                    <a:lnTo>
                      <a:pt x="445" y="333"/>
                    </a:lnTo>
                    <a:lnTo>
                      <a:pt x="444" y="342"/>
                    </a:lnTo>
                    <a:lnTo>
                      <a:pt x="442" y="351"/>
                    </a:lnTo>
                    <a:lnTo>
                      <a:pt x="438" y="359"/>
                    </a:lnTo>
                    <a:lnTo>
                      <a:pt x="435" y="365"/>
                    </a:lnTo>
                    <a:lnTo>
                      <a:pt x="423" y="379"/>
                    </a:lnTo>
                    <a:lnTo>
                      <a:pt x="418" y="383"/>
                    </a:lnTo>
                    <a:lnTo>
                      <a:pt x="417" y="398"/>
                    </a:lnTo>
                    <a:lnTo>
                      <a:pt x="434" y="397"/>
                    </a:lnTo>
                    <a:lnTo>
                      <a:pt x="434" y="401"/>
                    </a:lnTo>
                    <a:lnTo>
                      <a:pt x="436" y="411"/>
                    </a:lnTo>
                    <a:lnTo>
                      <a:pt x="439" y="417"/>
                    </a:lnTo>
                    <a:lnTo>
                      <a:pt x="445" y="424"/>
                    </a:lnTo>
                    <a:lnTo>
                      <a:pt x="453" y="432"/>
                    </a:lnTo>
                    <a:lnTo>
                      <a:pt x="463" y="437"/>
                    </a:lnTo>
                    <a:lnTo>
                      <a:pt x="479" y="445"/>
                    </a:lnTo>
                    <a:lnTo>
                      <a:pt x="502" y="454"/>
                    </a:lnTo>
                    <a:lnTo>
                      <a:pt x="529" y="466"/>
                    </a:lnTo>
                    <a:lnTo>
                      <a:pt x="557" y="477"/>
                    </a:lnTo>
                    <a:lnTo>
                      <a:pt x="585" y="489"/>
                    </a:lnTo>
                    <a:lnTo>
                      <a:pt x="612" y="501"/>
                    </a:lnTo>
                    <a:lnTo>
                      <a:pt x="634" y="512"/>
                    </a:lnTo>
                    <a:lnTo>
                      <a:pt x="651" y="521"/>
                    </a:lnTo>
                    <a:lnTo>
                      <a:pt x="661" y="529"/>
                    </a:lnTo>
                    <a:lnTo>
                      <a:pt x="669" y="536"/>
                    </a:lnTo>
                    <a:lnTo>
                      <a:pt x="674" y="542"/>
                    </a:lnTo>
                    <a:lnTo>
                      <a:pt x="678" y="549"/>
                    </a:lnTo>
                    <a:lnTo>
                      <a:pt x="680" y="557"/>
                    </a:lnTo>
                    <a:lnTo>
                      <a:pt x="681" y="565"/>
                    </a:lnTo>
                    <a:lnTo>
                      <a:pt x="680" y="575"/>
                    </a:lnTo>
                    <a:lnTo>
                      <a:pt x="680" y="588"/>
                    </a:lnTo>
                    <a:lnTo>
                      <a:pt x="679" y="611"/>
                    </a:lnTo>
                    <a:lnTo>
                      <a:pt x="678" y="629"/>
                    </a:lnTo>
                    <a:lnTo>
                      <a:pt x="678" y="641"/>
                    </a:lnTo>
                    <a:lnTo>
                      <a:pt x="678" y="645"/>
                    </a:lnTo>
                    <a:lnTo>
                      <a:pt x="340" y="649"/>
                    </a:lnTo>
                    <a:lnTo>
                      <a:pt x="4" y="645"/>
                    </a:lnTo>
                    <a:lnTo>
                      <a:pt x="4" y="641"/>
                    </a:lnTo>
                    <a:lnTo>
                      <a:pt x="4" y="629"/>
                    </a:lnTo>
                    <a:lnTo>
                      <a:pt x="2" y="611"/>
                    </a:lnTo>
                    <a:lnTo>
                      <a:pt x="1" y="588"/>
                    </a:lnTo>
                    <a:lnTo>
                      <a:pt x="1" y="575"/>
                    </a:lnTo>
                    <a:lnTo>
                      <a:pt x="0" y="565"/>
                    </a:lnTo>
                    <a:lnTo>
                      <a:pt x="1" y="557"/>
                    </a:lnTo>
                    <a:lnTo>
                      <a:pt x="4" y="549"/>
                    </a:lnTo>
                    <a:lnTo>
                      <a:pt x="7" y="542"/>
                    </a:lnTo>
                    <a:lnTo>
                      <a:pt x="13" y="536"/>
                    </a:lnTo>
                    <a:lnTo>
                      <a:pt x="21" y="529"/>
                    </a:lnTo>
                    <a:lnTo>
                      <a:pt x="31" y="521"/>
                    </a:lnTo>
                    <a:lnTo>
                      <a:pt x="48" y="512"/>
                    </a:lnTo>
                    <a:lnTo>
                      <a:pt x="69" y="501"/>
                    </a:lnTo>
                    <a:lnTo>
                      <a:pt x="96" y="489"/>
                    </a:lnTo>
                    <a:lnTo>
                      <a:pt x="124" y="477"/>
                    </a:lnTo>
                    <a:lnTo>
                      <a:pt x="153" y="466"/>
                    </a:lnTo>
                    <a:lnTo>
                      <a:pt x="180" y="454"/>
                    </a:lnTo>
                    <a:lnTo>
                      <a:pt x="202" y="445"/>
                    </a:lnTo>
                    <a:lnTo>
                      <a:pt x="218" y="437"/>
                    </a:lnTo>
                    <a:lnTo>
                      <a:pt x="228" y="432"/>
                    </a:lnTo>
                    <a:lnTo>
                      <a:pt x="236" y="424"/>
                    </a:lnTo>
                    <a:lnTo>
                      <a:pt x="242" y="417"/>
                    </a:lnTo>
                    <a:lnTo>
                      <a:pt x="245" y="411"/>
                    </a:lnTo>
                    <a:lnTo>
                      <a:pt x="248" y="401"/>
                    </a:lnTo>
                    <a:lnTo>
                      <a:pt x="248" y="397"/>
                    </a:lnTo>
                    <a:lnTo>
                      <a:pt x="264" y="398"/>
                    </a:lnTo>
                    <a:lnTo>
                      <a:pt x="263" y="383"/>
                    </a:lnTo>
                    <a:lnTo>
                      <a:pt x="259" y="379"/>
                    </a:lnTo>
                    <a:lnTo>
                      <a:pt x="246" y="365"/>
                    </a:lnTo>
                    <a:lnTo>
                      <a:pt x="243" y="359"/>
                    </a:lnTo>
                    <a:lnTo>
                      <a:pt x="240" y="351"/>
                    </a:lnTo>
                    <a:lnTo>
                      <a:pt x="237" y="342"/>
                    </a:lnTo>
                    <a:lnTo>
                      <a:pt x="236" y="333"/>
                    </a:lnTo>
                    <a:lnTo>
                      <a:pt x="234" y="316"/>
                    </a:lnTo>
                    <a:lnTo>
                      <a:pt x="233" y="310"/>
                    </a:lnTo>
                    <a:lnTo>
                      <a:pt x="232" y="310"/>
                    </a:lnTo>
                    <a:lnTo>
                      <a:pt x="224" y="312"/>
                    </a:lnTo>
                    <a:lnTo>
                      <a:pt x="222" y="312"/>
                    </a:lnTo>
                    <a:lnTo>
                      <a:pt x="219" y="310"/>
                    </a:lnTo>
                    <a:lnTo>
                      <a:pt x="218" y="306"/>
                    </a:lnTo>
                    <a:lnTo>
                      <a:pt x="216" y="302"/>
                    </a:lnTo>
                    <a:lnTo>
                      <a:pt x="213" y="289"/>
                    </a:lnTo>
                    <a:lnTo>
                      <a:pt x="209" y="275"/>
                    </a:lnTo>
                    <a:lnTo>
                      <a:pt x="205" y="244"/>
                    </a:lnTo>
                    <a:lnTo>
                      <a:pt x="201" y="220"/>
                    </a:lnTo>
                    <a:lnTo>
                      <a:pt x="201" y="216"/>
                    </a:lnTo>
                    <a:lnTo>
                      <a:pt x="202" y="213"/>
                    </a:lnTo>
                    <a:lnTo>
                      <a:pt x="205" y="211"/>
                    </a:lnTo>
                    <a:lnTo>
                      <a:pt x="207" y="210"/>
                    </a:lnTo>
                    <a:lnTo>
                      <a:pt x="213" y="210"/>
                    </a:lnTo>
                    <a:lnTo>
                      <a:pt x="217" y="213"/>
                    </a:lnTo>
                    <a:lnTo>
                      <a:pt x="213" y="204"/>
                    </a:lnTo>
                    <a:lnTo>
                      <a:pt x="207" y="192"/>
                    </a:lnTo>
                    <a:lnTo>
                      <a:pt x="203" y="181"/>
                    </a:lnTo>
                    <a:lnTo>
                      <a:pt x="201" y="164"/>
                    </a:lnTo>
                    <a:lnTo>
                      <a:pt x="201" y="145"/>
                    </a:lnTo>
                    <a:lnTo>
                      <a:pt x="201" y="123"/>
                    </a:lnTo>
                    <a:lnTo>
                      <a:pt x="203" y="102"/>
                    </a:lnTo>
                    <a:lnTo>
                      <a:pt x="207" y="82"/>
                    </a:lnTo>
                    <a:lnTo>
                      <a:pt x="209" y="73"/>
                    </a:lnTo>
                    <a:lnTo>
                      <a:pt x="211" y="65"/>
                    </a:lnTo>
                    <a:lnTo>
                      <a:pt x="214" y="57"/>
                    </a:lnTo>
                    <a:lnTo>
                      <a:pt x="217" y="50"/>
                    </a:lnTo>
                    <a:lnTo>
                      <a:pt x="220" y="44"/>
                    </a:lnTo>
                    <a:lnTo>
                      <a:pt x="225" y="40"/>
                    </a:lnTo>
                    <a:lnTo>
                      <a:pt x="229" y="36"/>
                    </a:lnTo>
                    <a:lnTo>
                      <a:pt x="235" y="35"/>
                    </a:lnTo>
                    <a:lnTo>
                      <a:pt x="240" y="34"/>
                    </a:lnTo>
                    <a:lnTo>
                      <a:pt x="243" y="35"/>
                    </a:lnTo>
                    <a:lnTo>
                      <a:pt x="248" y="36"/>
                    </a:lnTo>
                    <a:lnTo>
                      <a:pt x="251" y="38"/>
                    </a:lnTo>
                    <a:lnTo>
                      <a:pt x="257" y="32"/>
                    </a:lnTo>
                    <a:lnTo>
                      <a:pt x="261" y="26"/>
                    </a:lnTo>
                    <a:lnTo>
                      <a:pt x="269" y="18"/>
                    </a:lnTo>
                    <a:lnTo>
                      <a:pt x="278" y="13"/>
                    </a:lnTo>
                    <a:lnTo>
                      <a:pt x="287" y="8"/>
                    </a:lnTo>
                    <a:lnTo>
                      <a:pt x="297" y="5"/>
                    </a:lnTo>
                    <a:lnTo>
                      <a:pt x="307" y="3"/>
                    </a:lnTo>
                    <a:lnTo>
                      <a:pt x="319" y="1"/>
                    </a:lnTo>
                    <a:lnTo>
                      <a:pt x="330" y="0"/>
                    </a:lnTo>
                    <a:lnTo>
                      <a:pt x="34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6" name="Freeform 236"/>
              <p:cNvSpPr>
                <a:spLocks/>
              </p:cNvSpPr>
              <p:nvPr/>
            </p:nvSpPr>
            <p:spPr bwMode="auto">
              <a:xfrm>
                <a:off x="658813" y="3871913"/>
                <a:ext cx="133350" cy="147638"/>
              </a:xfrm>
              <a:custGeom>
                <a:avLst/>
                <a:gdLst>
                  <a:gd name="T0" fmla="*/ 189 w 417"/>
                  <a:gd name="T1" fmla="*/ 1 h 466"/>
                  <a:gd name="T2" fmla="*/ 212 w 417"/>
                  <a:gd name="T3" fmla="*/ 5 h 466"/>
                  <a:gd name="T4" fmla="*/ 230 w 417"/>
                  <a:gd name="T5" fmla="*/ 18 h 466"/>
                  <a:gd name="T6" fmla="*/ 254 w 417"/>
                  <a:gd name="T7" fmla="*/ 50 h 466"/>
                  <a:gd name="T8" fmla="*/ 267 w 417"/>
                  <a:gd name="T9" fmla="*/ 83 h 466"/>
                  <a:gd name="T10" fmla="*/ 264 w 417"/>
                  <a:gd name="T11" fmla="*/ 133 h 466"/>
                  <a:gd name="T12" fmla="*/ 259 w 417"/>
                  <a:gd name="T13" fmla="*/ 154 h 466"/>
                  <a:gd name="T14" fmla="*/ 269 w 417"/>
                  <a:gd name="T15" fmla="*/ 151 h 466"/>
                  <a:gd name="T16" fmla="*/ 273 w 417"/>
                  <a:gd name="T17" fmla="*/ 159 h 466"/>
                  <a:gd name="T18" fmla="*/ 265 w 417"/>
                  <a:gd name="T19" fmla="*/ 209 h 466"/>
                  <a:gd name="T20" fmla="*/ 260 w 417"/>
                  <a:gd name="T21" fmla="*/ 223 h 466"/>
                  <a:gd name="T22" fmla="*/ 251 w 417"/>
                  <a:gd name="T23" fmla="*/ 223 h 466"/>
                  <a:gd name="T24" fmla="*/ 248 w 417"/>
                  <a:gd name="T25" fmla="*/ 240 h 466"/>
                  <a:gd name="T26" fmla="*/ 243 w 417"/>
                  <a:gd name="T27" fmla="*/ 259 h 466"/>
                  <a:gd name="T28" fmla="*/ 228 w 417"/>
                  <a:gd name="T29" fmla="*/ 275 h 466"/>
                  <a:gd name="T30" fmla="*/ 240 w 417"/>
                  <a:gd name="T31" fmla="*/ 289 h 466"/>
                  <a:gd name="T32" fmla="*/ 248 w 417"/>
                  <a:gd name="T33" fmla="*/ 306 h 466"/>
                  <a:gd name="T34" fmla="*/ 288 w 417"/>
                  <a:gd name="T35" fmla="*/ 327 h 466"/>
                  <a:gd name="T36" fmla="*/ 367 w 417"/>
                  <a:gd name="T37" fmla="*/ 361 h 466"/>
                  <a:gd name="T38" fmla="*/ 404 w 417"/>
                  <a:gd name="T39" fmla="*/ 380 h 466"/>
                  <a:gd name="T40" fmla="*/ 416 w 417"/>
                  <a:gd name="T41" fmla="*/ 395 h 466"/>
                  <a:gd name="T42" fmla="*/ 417 w 417"/>
                  <a:gd name="T43" fmla="*/ 414 h 466"/>
                  <a:gd name="T44" fmla="*/ 416 w 417"/>
                  <a:gd name="T45" fmla="*/ 454 h 466"/>
                  <a:gd name="T46" fmla="*/ 209 w 417"/>
                  <a:gd name="T47" fmla="*/ 466 h 466"/>
                  <a:gd name="T48" fmla="*/ 205 w 417"/>
                  <a:gd name="T49" fmla="*/ 452 h 466"/>
                  <a:gd name="T50" fmla="*/ 180 w 417"/>
                  <a:gd name="T51" fmla="*/ 430 h 466"/>
                  <a:gd name="T52" fmla="*/ 120 w 417"/>
                  <a:gd name="T53" fmla="*/ 401 h 466"/>
                  <a:gd name="T54" fmla="*/ 41 w 417"/>
                  <a:gd name="T55" fmla="*/ 368 h 466"/>
                  <a:gd name="T56" fmla="*/ 25 w 417"/>
                  <a:gd name="T57" fmla="*/ 340 h 466"/>
                  <a:gd name="T58" fmla="*/ 84 w 417"/>
                  <a:gd name="T59" fmla="*/ 315 h 466"/>
                  <a:gd name="T60" fmla="*/ 101 w 417"/>
                  <a:gd name="T61" fmla="*/ 300 h 466"/>
                  <a:gd name="T62" fmla="*/ 105 w 417"/>
                  <a:gd name="T63" fmla="*/ 285 h 466"/>
                  <a:gd name="T64" fmla="*/ 113 w 417"/>
                  <a:gd name="T65" fmla="*/ 272 h 466"/>
                  <a:gd name="T66" fmla="*/ 100 w 417"/>
                  <a:gd name="T67" fmla="*/ 254 h 466"/>
                  <a:gd name="T68" fmla="*/ 95 w 417"/>
                  <a:gd name="T69" fmla="*/ 228 h 466"/>
                  <a:gd name="T70" fmla="*/ 88 w 417"/>
                  <a:gd name="T71" fmla="*/ 224 h 466"/>
                  <a:gd name="T72" fmla="*/ 84 w 417"/>
                  <a:gd name="T73" fmla="*/ 221 h 466"/>
                  <a:gd name="T74" fmla="*/ 78 w 417"/>
                  <a:gd name="T75" fmla="*/ 198 h 466"/>
                  <a:gd name="T76" fmla="*/ 73 w 417"/>
                  <a:gd name="T77" fmla="*/ 155 h 466"/>
                  <a:gd name="T78" fmla="*/ 76 w 417"/>
                  <a:gd name="T79" fmla="*/ 151 h 466"/>
                  <a:gd name="T80" fmla="*/ 81 w 417"/>
                  <a:gd name="T81" fmla="*/ 146 h 466"/>
                  <a:gd name="T82" fmla="*/ 73 w 417"/>
                  <a:gd name="T83" fmla="*/ 118 h 466"/>
                  <a:gd name="T84" fmla="*/ 74 w 417"/>
                  <a:gd name="T85" fmla="*/ 73 h 466"/>
                  <a:gd name="T86" fmla="*/ 83 w 417"/>
                  <a:gd name="T87" fmla="*/ 36 h 466"/>
                  <a:gd name="T88" fmla="*/ 93 w 417"/>
                  <a:gd name="T89" fmla="*/ 26 h 466"/>
                  <a:gd name="T90" fmla="*/ 108 w 417"/>
                  <a:gd name="T91" fmla="*/ 27 h 466"/>
                  <a:gd name="T92" fmla="*/ 121 w 417"/>
                  <a:gd name="T93" fmla="*/ 13 h 466"/>
                  <a:gd name="T94" fmla="*/ 142 w 417"/>
                  <a:gd name="T95" fmla="*/ 3 h 466"/>
                  <a:gd name="T96" fmla="*/ 165 w 417"/>
                  <a:gd name="T97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7" h="466">
                    <a:moveTo>
                      <a:pt x="173" y="0"/>
                    </a:moveTo>
                    <a:lnTo>
                      <a:pt x="181" y="0"/>
                    </a:lnTo>
                    <a:lnTo>
                      <a:pt x="189" y="1"/>
                    </a:lnTo>
                    <a:lnTo>
                      <a:pt x="196" y="2"/>
                    </a:lnTo>
                    <a:lnTo>
                      <a:pt x="204" y="3"/>
                    </a:lnTo>
                    <a:lnTo>
                      <a:pt x="212" y="5"/>
                    </a:lnTo>
                    <a:lnTo>
                      <a:pt x="218" y="9"/>
                    </a:lnTo>
                    <a:lnTo>
                      <a:pt x="224" y="13"/>
                    </a:lnTo>
                    <a:lnTo>
                      <a:pt x="230" y="18"/>
                    </a:lnTo>
                    <a:lnTo>
                      <a:pt x="240" y="29"/>
                    </a:lnTo>
                    <a:lnTo>
                      <a:pt x="248" y="39"/>
                    </a:lnTo>
                    <a:lnTo>
                      <a:pt x="254" y="50"/>
                    </a:lnTo>
                    <a:lnTo>
                      <a:pt x="260" y="61"/>
                    </a:lnTo>
                    <a:lnTo>
                      <a:pt x="265" y="72"/>
                    </a:lnTo>
                    <a:lnTo>
                      <a:pt x="267" y="83"/>
                    </a:lnTo>
                    <a:lnTo>
                      <a:pt x="268" y="96"/>
                    </a:lnTo>
                    <a:lnTo>
                      <a:pt x="267" y="109"/>
                    </a:lnTo>
                    <a:lnTo>
                      <a:pt x="264" y="133"/>
                    </a:lnTo>
                    <a:lnTo>
                      <a:pt x="261" y="146"/>
                    </a:lnTo>
                    <a:lnTo>
                      <a:pt x="260" y="153"/>
                    </a:lnTo>
                    <a:lnTo>
                      <a:pt x="259" y="154"/>
                    </a:lnTo>
                    <a:lnTo>
                      <a:pt x="261" y="153"/>
                    </a:lnTo>
                    <a:lnTo>
                      <a:pt x="266" y="151"/>
                    </a:lnTo>
                    <a:lnTo>
                      <a:pt x="269" y="151"/>
                    </a:lnTo>
                    <a:lnTo>
                      <a:pt x="271" y="152"/>
                    </a:lnTo>
                    <a:lnTo>
                      <a:pt x="273" y="154"/>
                    </a:lnTo>
                    <a:lnTo>
                      <a:pt x="273" y="159"/>
                    </a:lnTo>
                    <a:lnTo>
                      <a:pt x="271" y="176"/>
                    </a:lnTo>
                    <a:lnTo>
                      <a:pt x="267" y="198"/>
                    </a:lnTo>
                    <a:lnTo>
                      <a:pt x="265" y="209"/>
                    </a:lnTo>
                    <a:lnTo>
                      <a:pt x="262" y="218"/>
                    </a:lnTo>
                    <a:lnTo>
                      <a:pt x="261" y="221"/>
                    </a:lnTo>
                    <a:lnTo>
                      <a:pt x="260" y="223"/>
                    </a:lnTo>
                    <a:lnTo>
                      <a:pt x="259" y="224"/>
                    </a:lnTo>
                    <a:lnTo>
                      <a:pt x="257" y="224"/>
                    </a:lnTo>
                    <a:lnTo>
                      <a:pt x="251" y="223"/>
                    </a:lnTo>
                    <a:lnTo>
                      <a:pt x="250" y="222"/>
                    </a:lnTo>
                    <a:lnTo>
                      <a:pt x="250" y="228"/>
                    </a:lnTo>
                    <a:lnTo>
                      <a:pt x="248" y="240"/>
                    </a:lnTo>
                    <a:lnTo>
                      <a:pt x="247" y="247"/>
                    </a:lnTo>
                    <a:lnTo>
                      <a:pt x="245" y="254"/>
                    </a:lnTo>
                    <a:lnTo>
                      <a:pt x="243" y="259"/>
                    </a:lnTo>
                    <a:lnTo>
                      <a:pt x="241" y="263"/>
                    </a:lnTo>
                    <a:lnTo>
                      <a:pt x="232" y="272"/>
                    </a:lnTo>
                    <a:lnTo>
                      <a:pt x="228" y="275"/>
                    </a:lnTo>
                    <a:lnTo>
                      <a:pt x="227" y="286"/>
                    </a:lnTo>
                    <a:lnTo>
                      <a:pt x="240" y="285"/>
                    </a:lnTo>
                    <a:lnTo>
                      <a:pt x="240" y="289"/>
                    </a:lnTo>
                    <a:lnTo>
                      <a:pt x="241" y="295"/>
                    </a:lnTo>
                    <a:lnTo>
                      <a:pt x="244" y="300"/>
                    </a:lnTo>
                    <a:lnTo>
                      <a:pt x="248" y="306"/>
                    </a:lnTo>
                    <a:lnTo>
                      <a:pt x="253" y="310"/>
                    </a:lnTo>
                    <a:lnTo>
                      <a:pt x="261" y="315"/>
                    </a:lnTo>
                    <a:lnTo>
                      <a:pt x="288" y="327"/>
                    </a:lnTo>
                    <a:lnTo>
                      <a:pt x="328" y="343"/>
                    </a:lnTo>
                    <a:lnTo>
                      <a:pt x="349" y="352"/>
                    </a:lnTo>
                    <a:lnTo>
                      <a:pt x="367" y="361"/>
                    </a:lnTo>
                    <a:lnTo>
                      <a:pt x="384" y="368"/>
                    </a:lnTo>
                    <a:lnTo>
                      <a:pt x="396" y="375"/>
                    </a:lnTo>
                    <a:lnTo>
                      <a:pt x="404" y="380"/>
                    </a:lnTo>
                    <a:lnTo>
                      <a:pt x="409" y="386"/>
                    </a:lnTo>
                    <a:lnTo>
                      <a:pt x="413" y="390"/>
                    </a:lnTo>
                    <a:lnTo>
                      <a:pt x="416" y="395"/>
                    </a:lnTo>
                    <a:lnTo>
                      <a:pt x="417" y="401"/>
                    </a:lnTo>
                    <a:lnTo>
                      <a:pt x="417" y="407"/>
                    </a:lnTo>
                    <a:lnTo>
                      <a:pt x="417" y="414"/>
                    </a:lnTo>
                    <a:lnTo>
                      <a:pt x="417" y="423"/>
                    </a:lnTo>
                    <a:lnTo>
                      <a:pt x="416" y="440"/>
                    </a:lnTo>
                    <a:lnTo>
                      <a:pt x="416" y="454"/>
                    </a:lnTo>
                    <a:lnTo>
                      <a:pt x="416" y="462"/>
                    </a:lnTo>
                    <a:lnTo>
                      <a:pt x="415" y="464"/>
                    </a:lnTo>
                    <a:lnTo>
                      <a:pt x="209" y="466"/>
                    </a:lnTo>
                    <a:lnTo>
                      <a:pt x="208" y="462"/>
                    </a:lnTo>
                    <a:lnTo>
                      <a:pt x="207" y="457"/>
                    </a:lnTo>
                    <a:lnTo>
                      <a:pt x="205" y="452"/>
                    </a:lnTo>
                    <a:lnTo>
                      <a:pt x="201" y="448"/>
                    </a:lnTo>
                    <a:lnTo>
                      <a:pt x="192" y="439"/>
                    </a:lnTo>
                    <a:lnTo>
                      <a:pt x="180" y="430"/>
                    </a:lnTo>
                    <a:lnTo>
                      <a:pt x="165" y="421"/>
                    </a:lnTo>
                    <a:lnTo>
                      <a:pt x="145" y="412"/>
                    </a:lnTo>
                    <a:lnTo>
                      <a:pt x="120" y="401"/>
                    </a:lnTo>
                    <a:lnTo>
                      <a:pt x="94" y="389"/>
                    </a:lnTo>
                    <a:lnTo>
                      <a:pt x="67" y="378"/>
                    </a:lnTo>
                    <a:lnTo>
                      <a:pt x="41" y="368"/>
                    </a:lnTo>
                    <a:lnTo>
                      <a:pt x="18" y="359"/>
                    </a:lnTo>
                    <a:lnTo>
                      <a:pt x="0" y="351"/>
                    </a:lnTo>
                    <a:lnTo>
                      <a:pt x="25" y="340"/>
                    </a:lnTo>
                    <a:lnTo>
                      <a:pt x="49" y="331"/>
                    </a:lnTo>
                    <a:lnTo>
                      <a:pt x="69" y="321"/>
                    </a:lnTo>
                    <a:lnTo>
                      <a:pt x="84" y="315"/>
                    </a:lnTo>
                    <a:lnTo>
                      <a:pt x="92" y="310"/>
                    </a:lnTo>
                    <a:lnTo>
                      <a:pt x="98" y="306"/>
                    </a:lnTo>
                    <a:lnTo>
                      <a:pt x="101" y="300"/>
                    </a:lnTo>
                    <a:lnTo>
                      <a:pt x="104" y="295"/>
                    </a:lnTo>
                    <a:lnTo>
                      <a:pt x="105" y="289"/>
                    </a:lnTo>
                    <a:lnTo>
                      <a:pt x="105" y="285"/>
                    </a:lnTo>
                    <a:lnTo>
                      <a:pt x="118" y="286"/>
                    </a:lnTo>
                    <a:lnTo>
                      <a:pt x="117" y="275"/>
                    </a:lnTo>
                    <a:lnTo>
                      <a:pt x="113" y="272"/>
                    </a:lnTo>
                    <a:lnTo>
                      <a:pt x="105" y="263"/>
                    </a:lnTo>
                    <a:lnTo>
                      <a:pt x="102" y="259"/>
                    </a:lnTo>
                    <a:lnTo>
                      <a:pt x="100" y="254"/>
                    </a:lnTo>
                    <a:lnTo>
                      <a:pt x="99" y="247"/>
                    </a:lnTo>
                    <a:lnTo>
                      <a:pt x="98" y="240"/>
                    </a:lnTo>
                    <a:lnTo>
                      <a:pt x="95" y="228"/>
                    </a:lnTo>
                    <a:lnTo>
                      <a:pt x="95" y="222"/>
                    </a:lnTo>
                    <a:lnTo>
                      <a:pt x="94" y="223"/>
                    </a:lnTo>
                    <a:lnTo>
                      <a:pt x="88" y="224"/>
                    </a:lnTo>
                    <a:lnTo>
                      <a:pt x="87" y="224"/>
                    </a:lnTo>
                    <a:lnTo>
                      <a:pt x="85" y="223"/>
                    </a:lnTo>
                    <a:lnTo>
                      <a:pt x="84" y="221"/>
                    </a:lnTo>
                    <a:lnTo>
                      <a:pt x="83" y="218"/>
                    </a:lnTo>
                    <a:lnTo>
                      <a:pt x="81" y="209"/>
                    </a:lnTo>
                    <a:lnTo>
                      <a:pt x="78" y="198"/>
                    </a:lnTo>
                    <a:lnTo>
                      <a:pt x="74" y="176"/>
                    </a:lnTo>
                    <a:lnTo>
                      <a:pt x="73" y="159"/>
                    </a:lnTo>
                    <a:lnTo>
                      <a:pt x="73" y="155"/>
                    </a:lnTo>
                    <a:lnTo>
                      <a:pt x="74" y="153"/>
                    </a:lnTo>
                    <a:lnTo>
                      <a:pt x="75" y="152"/>
                    </a:lnTo>
                    <a:lnTo>
                      <a:pt x="76" y="151"/>
                    </a:lnTo>
                    <a:lnTo>
                      <a:pt x="79" y="151"/>
                    </a:lnTo>
                    <a:lnTo>
                      <a:pt x="84" y="153"/>
                    </a:lnTo>
                    <a:lnTo>
                      <a:pt x="81" y="146"/>
                    </a:lnTo>
                    <a:lnTo>
                      <a:pt x="76" y="139"/>
                    </a:lnTo>
                    <a:lnTo>
                      <a:pt x="74" y="129"/>
                    </a:lnTo>
                    <a:lnTo>
                      <a:pt x="73" y="118"/>
                    </a:lnTo>
                    <a:lnTo>
                      <a:pt x="72" y="105"/>
                    </a:lnTo>
                    <a:lnTo>
                      <a:pt x="73" y="89"/>
                    </a:lnTo>
                    <a:lnTo>
                      <a:pt x="74" y="73"/>
                    </a:lnTo>
                    <a:lnTo>
                      <a:pt x="76" y="58"/>
                    </a:lnTo>
                    <a:lnTo>
                      <a:pt x="79" y="46"/>
                    </a:lnTo>
                    <a:lnTo>
                      <a:pt x="83" y="36"/>
                    </a:lnTo>
                    <a:lnTo>
                      <a:pt x="86" y="31"/>
                    </a:lnTo>
                    <a:lnTo>
                      <a:pt x="90" y="28"/>
                    </a:lnTo>
                    <a:lnTo>
                      <a:pt x="93" y="26"/>
                    </a:lnTo>
                    <a:lnTo>
                      <a:pt x="96" y="24"/>
                    </a:lnTo>
                    <a:lnTo>
                      <a:pt x="102" y="24"/>
                    </a:lnTo>
                    <a:lnTo>
                      <a:pt x="108" y="27"/>
                    </a:lnTo>
                    <a:lnTo>
                      <a:pt x="112" y="22"/>
                    </a:lnTo>
                    <a:lnTo>
                      <a:pt x="116" y="18"/>
                    </a:lnTo>
                    <a:lnTo>
                      <a:pt x="121" y="13"/>
                    </a:lnTo>
                    <a:lnTo>
                      <a:pt x="128" y="9"/>
                    </a:lnTo>
                    <a:lnTo>
                      <a:pt x="135" y="5"/>
                    </a:lnTo>
                    <a:lnTo>
                      <a:pt x="142" y="3"/>
                    </a:lnTo>
                    <a:lnTo>
                      <a:pt x="149" y="2"/>
                    </a:lnTo>
                    <a:lnTo>
                      <a:pt x="157" y="1"/>
                    </a:lnTo>
                    <a:lnTo>
                      <a:pt x="165" y="0"/>
                    </a:lnTo>
                    <a:lnTo>
                      <a:pt x="173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7" name="Freeform 237"/>
              <p:cNvSpPr>
                <a:spLocks/>
              </p:cNvSpPr>
              <p:nvPr/>
            </p:nvSpPr>
            <p:spPr bwMode="auto">
              <a:xfrm>
                <a:off x="412750" y="3871913"/>
                <a:ext cx="131763" cy="147638"/>
              </a:xfrm>
              <a:custGeom>
                <a:avLst/>
                <a:gdLst>
                  <a:gd name="T0" fmla="*/ 230 w 417"/>
                  <a:gd name="T1" fmla="*/ 1 h 466"/>
                  <a:gd name="T2" fmla="*/ 207 w 417"/>
                  <a:gd name="T3" fmla="*/ 5 h 466"/>
                  <a:gd name="T4" fmla="*/ 188 w 417"/>
                  <a:gd name="T5" fmla="*/ 18 h 466"/>
                  <a:gd name="T6" fmla="*/ 163 w 417"/>
                  <a:gd name="T7" fmla="*/ 50 h 466"/>
                  <a:gd name="T8" fmla="*/ 151 w 417"/>
                  <a:gd name="T9" fmla="*/ 83 h 466"/>
                  <a:gd name="T10" fmla="*/ 154 w 417"/>
                  <a:gd name="T11" fmla="*/ 133 h 466"/>
                  <a:gd name="T12" fmla="*/ 159 w 417"/>
                  <a:gd name="T13" fmla="*/ 154 h 466"/>
                  <a:gd name="T14" fmla="*/ 150 w 417"/>
                  <a:gd name="T15" fmla="*/ 151 h 466"/>
                  <a:gd name="T16" fmla="*/ 145 w 417"/>
                  <a:gd name="T17" fmla="*/ 159 h 466"/>
                  <a:gd name="T18" fmla="*/ 153 w 417"/>
                  <a:gd name="T19" fmla="*/ 209 h 466"/>
                  <a:gd name="T20" fmla="*/ 159 w 417"/>
                  <a:gd name="T21" fmla="*/ 223 h 466"/>
                  <a:gd name="T22" fmla="*/ 166 w 417"/>
                  <a:gd name="T23" fmla="*/ 223 h 466"/>
                  <a:gd name="T24" fmla="*/ 170 w 417"/>
                  <a:gd name="T25" fmla="*/ 240 h 466"/>
                  <a:gd name="T26" fmla="*/ 176 w 417"/>
                  <a:gd name="T27" fmla="*/ 259 h 466"/>
                  <a:gd name="T28" fmla="*/ 189 w 417"/>
                  <a:gd name="T29" fmla="*/ 275 h 466"/>
                  <a:gd name="T30" fmla="*/ 179 w 417"/>
                  <a:gd name="T31" fmla="*/ 289 h 466"/>
                  <a:gd name="T32" fmla="*/ 170 w 417"/>
                  <a:gd name="T33" fmla="*/ 306 h 466"/>
                  <a:gd name="T34" fmla="*/ 129 w 417"/>
                  <a:gd name="T35" fmla="*/ 327 h 466"/>
                  <a:gd name="T36" fmla="*/ 50 w 417"/>
                  <a:gd name="T37" fmla="*/ 361 h 466"/>
                  <a:gd name="T38" fmla="*/ 15 w 417"/>
                  <a:gd name="T39" fmla="*/ 380 h 466"/>
                  <a:gd name="T40" fmla="*/ 3 w 417"/>
                  <a:gd name="T41" fmla="*/ 395 h 466"/>
                  <a:gd name="T42" fmla="*/ 0 w 417"/>
                  <a:gd name="T43" fmla="*/ 414 h 466"/>
                  <a:gd name="T44" fmla="*/ 3 w 417"/>
                  <a:gd name="T45" fmla="*/ 454 h 466"/>
                  <a:gd name="T46" fmla="*/ 208 w 417"/>
                  <a:gd name="T47" fmla="*/ 466 h 466"/>
                  <a:gd name="T48" fmla="*/ 214 w 417"/>
                  <a:gd name="T49" fmla="*/ 452 h 466"/>
                  <a:gd name="T50" fmla="*/ 239 w 417"/>
                  <a:gd name="T51" fmla="*/ 430 h 466"/>
                  <a:gd name="T52" fmla="*/ 297 w 417"/>
                  <a:gd name="T53" fmla="*/ 401 h 466"/>
                  <a:gd name="T54" fmla="*/ 377 w 417"/>
                  <a:gd name="T55" fmla="*/ 368 h 466"/>
                  <a:gd name="T56" fmla="*/ 392 w 417"/>
                  <a:gd name="T57" fmla="*/ 340 h 466"/>
                  <a:gd name="T58" fmla="*/ 334 w 417"/>
                  <a:gd name="T59" fmla="*/ 315 h 466"/>
                  <a:gd name="T60" fmla="*/ 317 w 417"/>
                  <a:gd name="T61" fmla="*/ 300 h 466"/>
                  <a:gd name="T62" fmla="*/ 312 w 417"/>
                  <a:gd name="T63" fmla="*/ 285 h 466"/>
                  <a:gd name="T64" fmla="*/ 304 w 417"/>
                  <a:gd name="T65" fmla="*/ 272 h 466"/>
                  <a:gd name="T66" fmla="*/ 318 w 417"/>
                  <a:gd name="T67" fmla="*/ 254 h 466"/>
                  <a:gd name="T68" fmla="*/ 322 w 417"/>
                  <a:gd name="T69" fmla="*/ 228 h 466"/>
                  <a:gd name="T70" fmla="*/ 330 w 417"/>
                  <a:gd name="T71" fmla="*/ 224 h 466"/>
                  <a:gd name="T72" fmla="*/ 334 w 417"/>
                  <a:gd name="T73" fmla="*/ 221 h 466"/>
                  <a:gd name="T74" fmla="*/ 340 w 417"/>
                  <a:gd name="T75" fmla="*/ 198 h 466"/>
                  <a:gd name="T76" fmla="*/ 346 w 417"/>
                  <a:gd name="T77" fmla="*/ 155 h 466"/>
                  <a:gd name="T78" fmla="*/ 342 w 417"/>
                  <a:gd name="T79" fmla="*/ 151 h 466"/>
                  <a:gd name="T80" fmla="*/ 338 w 417"/>
                  <a:gd name="T81" fmla="*/ 146 h 466"/>
                  <a:gd name="T82" fmla="*/ 346 w 417"/>
                  <a:gd name="T83" fmla="*/ 118 h 466"/>
                  <a:gd name="T84" fmla="*/ 344 w 417"/>
                  <a:gd name="T85" fmla="*/ 73 h 466"/>
                  <a:gd name="T86" fmla="*/ 335 w 417"/>
                  <a:gd name="T87" fmla="*/ 36 h 466"/>
                  <a:gd name="T88" fmla="*/ 326 w 417"/>
                  <a:gd name="T89" fmla="*/ 26 h 466"/>
                  <a:gd name="T90" fmla="*/ 310 w 417"/>
                  <a:gd name="T91" fmla="*/ 27 h 466"/>
                  <a:gd name="T92" fmla="*/ 296 w 417"/>
                  <a:gd name="T93" fmla="*/ 13 h 466"/>
                  <a:gd name="T94" fmla="*/ 277 w 417"/>
                  <a:gd name="T95" fmla="*/ 3 h 466"/>
                  <a:gd name="T96" fmla="*/ 253 w 417"/>
                  <a:gd name="T97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7" h="466">
                    <a:moveTo>
                      <a:pt x="246" y="0"/>
                    </a:moveTo>
                    <a:lnTo>
                      <a:pt x="238" y="0"/>
                    </a:lnTo>
                    <a:lnTo>
                      <a:pt x="230" y="1"/>
                    </a:lnTo>
                    <a:lnTo>
                      <a:pt x="222" y="2"/>
                    </a:lnTo>
                    <a:lnTo>
                      <a:pt x="214" y="3"/>
                    </a:lnTo>
                    <a:lnTo>
                      <a:pt x="207" y="5"/>
                    </a:lnTo>
                    <a:lnTo>
                      <a:pt x="200" y="9"/>
                    </a:lnTo>
                    <a:lnTo>
                      <a:pt x="194" y="13"/>
                    </a:lnTo>
                    <a:lnTo>
                      <a:pt x="188" y="18"/>
                    </a:lnTo>
                    <a:lnTo>
                      <a:pt x="179" y="29"/>
                    </a:lnTo>
                    <a:lnTo>
                      <a:pt x="170" y="39"/>
                    </a:lnTo>
                    <a:lnTo>
                      <a:pt x="163" y="50"/>
                    </a:lnTo>
                    <a:lnTo>
                      <a:pt x="157" y="61"/>
                    </a:lnTo>
                    <a:lnTo>
                      <a:pt x="154" y="72"/>
                    </a:lnTo>
                    <a:lnTo>
                      <a:pt x="151" y="83"/>
                    </a:lnTo>
                    <a:lnTo>
                      <a:pt x="151" y="96"/>
                    </a:lnTo>
                    <a:lnTo>
                      <a:pt x="151" y="109"/>
                    </a:lnTo>
                    <a:lnTo>
                      <a:pt x="154" y="133"/>
                    </a:lnTo>
                    <a:lnTo>
                      <a:pt x="157" y="146"/>
                    </a:lnTo>
                    <a:lnTo>
                      <a:pt x="159" y="153"/>
                    </a:lnTo>
                    <a:lnTo>
                      <a:pt x="159" y="154"/>
                    </a:lnTo>
                    <a:lnTo>
                      <a:pt x="156" y="153"/>
                    </a:lnTo>
                    <a:lnTo>
                      <a:pt x="152" y="151"/>
                    </a:lnTo>
                    <a:lnTo>
                      <a:pt x="150" y="151"/>
                    </a:lnTo>
                    <a:lnTo>
                      <a:pt x="147" y="152"/>
                    </a:lnTo>
                    <a:lnTo>
                      <a:pt x="145" y="154"/>
                    </a:lnTo>
                    <a:lnTo>
                      <a:pt x="145" y="159"/>
                    </a:lnTo>
                    <a:lnTo>
                      <a:pt x="147" y="176"/>
                    </a:lnTo>
                    <a:lnTo>
                      <a:pt x="151" y="198"/>
                    </a:lnTo>
                    <a:lnTo>
                      <a:pt x="153" y="209"/>
                    </a:lnTo>
                    <a:lnTo>
                      <a:pt x="155" y="218"/>
                    </a:lnTo>
                    <a:lnTo>
                      <a:pt x="157" y="221"/>
                    </a:lnTo>
                    <a:lnTo>
                      <a:pt x="159" y="223"/>
                    </a:lnTo>
                    <a:lnTo>
                      <a:pt x="160" y="224"/>
                    </a:lnTo>
                    <a:lnTo>
                      <a:pt x="161" y="224"/>
                    </a:lnTo>
                    <a:lnTo>
                      <a:pt x="166" y="223"/>
                    </a:lnTo>
                    <a:lnTo>
                      <a:pt x="168" y="222"/>
                    </a:lnTo>
                    <a:lnTo>
                      <a:pt x="169" y="228"/>
                    </a:lnTo>
                    <a:lnTo>
                      <a:pt x="170" y="240"/>
                    </a:lnTo>
                    <a:lnTo>
                      <a:pt x="171" y="247"/>
                    </a:lnTo>
                    <a:lnTo>
                      <a:pt x="173" y="254"/>
                    </a:lnTo>
                    <a:lnTo>
                      <a:pt x="176" y="259"/>
                    </a:lnTo>
                    <a:lnTo>
                      <a:pt x="178" y="263"/>
                    </a:lnTo>
                    <a:lnTo>
                      <a:pt x="187" y="272"/>
                    </a:lnTo>
                    <a:lnTo>
                      <a:pt x="189" y="275"/>
                    </a:lnTo>
                    <a:lnTo>
                      <a:pt x="190" y="286"/>
                    </a:lnTo>
                    <a:lnTo>
                      <a:pt x="179" y="285"/>
                    </a:lnTo>
                    <a:lnTo>
                      <a:pt x="179" y="289"/>
                    </a:lnTo>
                    <a:lnTo>
                      <a:pt x="177" y="295"/>
                    </a:lnTo>
                    <a:lnTo>
                      <a:pt x="174" y="300"/>
                    </a:lnTo>
                    <a:lnTo>
                      <a:pt x="170" y="306"/>
                    </a:lnTo>
                    <a:lnTo>
                      <a:pt x="164" y="310"/>
                    </a:lnTo>
                    <a:lnTo>
                      <a:pt x="157" y="315"/>
                    </a:lnTo>
                    <a:lnTo>
                      <a:pt x="129" y="327"/>
                    </a:lnTo>
                    <a:lnTo>
                      <a:pt x="90" y="343"/>
                    </a:lnTo>
                    <a:lnTo>
                      <a:pt x="69" y="352"/>
                    </a:lnTo>
                    <a:lnTo>
                      <a:pt x="50" y="361"/>
                    </a:lnTo>
                    <a:lnTo>
                      <a:pt x="34" y="368"/>
                    </a:lnTo>
                    <a:lnTo>
                      <a:pt x="22" y="375"/>
                    </a:lnTo>
                    <a:lnTo>
                      <a:pt x="15" y="380"/>
                    </a:lnTo>
                    <a:lnTo>
                      <a:pt x="10" y="386"/>
                    </a:lnTo>
                    <a:lnTo>
                      <a:pt x="5" y="390"/>
                    </a:lnTo>
                    <a:lnTo>
                      <a:pt x="3" y="395"/>
                    </a:lnTo>
                    <a:lnTo>
                      <a:pt x="2" y="401"/>
                    </a:lnTo>
                    <a:lnTo>
                      <a:pt x="0" y="407"/>
                    </a:lnTo>
                    <a:lnTo>
                      <a:pt x="0" y="414"/>
                    </a:lnTo>
                    <a:lnTo>
                      <a:pt x="0" y="423"/>
                    </a:lnTo>
                    <a:lnTo>
                      <a:pt x="2" y="440"/>
                    </a:lnTo>
                    <a:lnTo>
                      <a:pt x="3" y="454"/>
                    </a:lnTo>
                    <a:lnTo>
                      <a:pt x="3" y="462"/>
                    </a:lnTo>
                    <a:lnTo>
                      <a:pt x="3" y="464"/>
                    </a:lnTo>
                    <a:lnTo>
                      <a:pt x="208" y="466"/>
                    </a:lnTo>
                    <a:lnTo>
                      <a:pt x="209" y="462"/>
                    </a:lnTo>
                    <a:lnTo>
                      <a:pt x="212" y="457"/>
                    </a:lnTo>
                    <a:lnTo>
                      <a:pt x="214" y="452"/>
                    </a:lnTo>
                    <a:lnTo>
                      <a:pt x="216" y="448"/>
                    </a:lnTo>
                    <a:lnTo>
                      <a:pt x="225" y="439"/>
                    </a:lnTo>
                    <a:lnTo>
                      <a:pt x="239" y="430"/>
                    </a:lnTo>
                    <a:lnTo>
                      <a:pt x="253" y="421"/>
                    </a:lnTo>
                    <a:lnTo>
                      <a:pt x="274" y="412"/>
                    </a:lnTo>
                    <a:lnTo>
                      <a:pt x="297" y="401"/>
                    </a:lnTo>
                    <a:lnTo>
                      <a:pt x="325" y="389"/>
                    </a:lnTo>
                    <a:lnTo>
                      <a:pt x="351" y="378"/>
                    </a:lnTo>
                    <a:lnTo>
                      <a:pt x="377" y="368"/>
                    </a:lnTo>
                    <a:lnTo>
                      <a:pt x="399" y="359"/>
                    </a:lnTo>
                    <a:lnTo>
                      <a:pt x="417" y="351"/>
                    </a:lnTo>
                    <a:lnTo>
                      <a:pt x="392" y="340"/>
                    </a:lnTo>
                    <a:lnTo>
                      <a:pt x="369" y="331"/>
                    </a:lnTo>
                    <a:lnTo>
                      <a:pt x="348" y="321"/>
                    </a:lnTo>
                    <a:lnTo>
                      <a:pt x="334" y="315"/>
                    </a:lnTo>
                    <a:lnTo>
                      <a:pt x="326" y="310"/>
                    </a:lnTo>
                    <a:lnTo>
                      <a:pt x="320" y="306"/>
                    </a:lnTo>
                    <a:lnTo>
                      <a:pt x="317" y="300"/>
                    </a:lnTo>
                    <a:lnTo>
                      <a:pt x="314" y="295"/>
                    </a:lnTo>
                    <a:lnTo>
                      <a:pt x="312" y="289"/>
                    </a:lnTo>
                    <a:lnTo>
                      <a:pt x="312" y="285"/>
                    </a:lnTo>
                    <a:lnTo>
                      <a:pt x="301" y="286"/>
                    </a:lnTo>
                    <a:lnTo>
                      <a:pt x="302" y="275"/>
                    </a:lnTo>
                    <a:lnTo>
                      <a:pt x="304" y="272"/>
                    </a:lnTo>
                    <a:lnTo>
                      <a:pt x="313" y="263"/>
                    </a:lnTo>
                    <a:lnTo>
                      <a:pt x="316" y="259"/>
                    </a:lnTo>
                    <a:lnTo>
                      <a:pt x="318" y="254"/>
                    </a:lnTo>
                    <a:lnTo>
                      <a:pt x="320" y="247"/>
                    </a:lnTo>
                    <a:lnTo>
                      <a:pt x="321" y="240"/>
                    </a:lnTo>
                    <a:lnTo>
                      <a:pt x="322" y="228"/>
                    </a:lnTo>
                    <a:lnTo>
                      <a:pt x="323" y="222"/>
                    </a:lnTo>
                    <a:lnTo>
                      <a:pt x="323" y="223"/>
                    </a:lnTo>
                    <a:lnTo>
                      <a:pt x="330" y="224"/>
                    </a:lnTo>
                    <a:lnTo>
                      <a:pt x="331" y="224"/>
                    </a:lnTo>
                    <a:lnTo>
                      <a:pt x="332" y="223"/>
                    </a:lnTo>
                    <a:lnTo>
                      <a:pt x="334" y="221"/>
                    </a:lnTo>
                    <a:lnTo>
                      <a:pt x="335" y="218"/>
                    </a:lnTo>
                    <a:lnTo>
                      <a:pt x="338" y="209"/>
                    </a:lnTo>
                    <a:lnTo>
                      <a:pt x="340" y="198"/>
                    </a:lnTo>
                    <a:lnTo>
                      <a:pt x="344" y="176"/>
                    </a:lnTo>
                    <a:lnTo>
                      <a:pt x="346" y="159"/>
                    </a:lnTo>
                    <a:lnTo>
                      <a:pt x="346" y="155"/>
                    </a:lnTo>
                    <a:lnTo>
                      <a:pt x="345" y="153"/>
                    </a:lnTo>
                    <a:lnTo>
                      <a:pt x="344" y="152"/>
                    </a:lnTo>
                    <a:lnTo>
                      <a:pt x="342" y="151"/>
                    </a:lnTo>
                    <a:lnTo>
                      <a:pt x="338" y="151"/>
                    </a:lnTo>
                    <a:lnTo>
                      <a:pt x="335" y="153"/>
                    </a:lnTo>
                    <a:lnTo>
                      <a:pt x="338" y="146"/>
                    </a:lnTo>
                    <a:lnTo>
                      <a:pt x="342" y="139"/>
                    </a:lnTo>
                    <a:lnTo>
                      <a:pt x="344" y="129"/>
                    </a:lnTo>
                    <a:lnTo>
                      <a:pt x="346" y="118"/>
                    </a:lnTo>
                    <a:lnTo>
                      <a:pt x="346" y="105"/>
                    </a:lnTo>
                    <a:lnTo>
                      <a:pt x="346" y="89"/>
                    </a:lnTo>
                    <a:lnTo>
                      <a:pt x="344" y="73"/>
                    </a:lnTo>
                    <a:lnTo>
                      <a:pt x="342" y="58"/>
                    </a:lnTo>
                    <a:lnTo>
                      <a:pt x="339" y="46"/>
                    </a:lnTo>
                    <a:lnTo>
                      <a:pt x="335" y="36"/>
                    </a:lnTo>
                    <a:lnTo>
                      <a:pt x="331" y="31"/>
                    </a:lnTo>
                    <a:lnTo>
                      <a:pt x="329" y="28"/>
                    </a:lnTo>
                    <a:lnTo>
                      <a:pt x="326" y="26"/>
                    </a:lnTo>
                    <a:lnTo>
                      <a:pt x="322" y="24"/>
                    </a:lnTo>
                    <a:lnTo>
                      <a:pt x="316" y="24"/>
                    </a:lnTo>
                    <a:lnTo>
                      <a:pt x="310" y="27"/>
                    </a:lnTo>
                    <a:lnTo>
                      <a:pt x="307" y="22"/>
                    </a:lnTo>
                    <a:lnTo>
                      <a:pt x="302" y="18"/>
                    </a:lnTo>
                    <a:lnTo>
                      <a:pt x="296" y="13"/>
                    </a:lnTo>
                    <a:lnTo>
                      <a:pt x="291" y="9"/>
                    </a:lnTo>
                    <a:lnTo>
                      <a:pt x="284" y="5"/>
                    </a:lnTo>
                    <a:lnTo>
                      <a:pt x="277" y="3"/>
                    </a:lnTo>
                    <a:lnTo>
                      <a:pt x="269" y="2"/>
                    </a:lnTo>
                    <a:lnTo>
                      <a:pt x="261" y="1"/>
                    </a:lnTo>
                    <a:lnTo>
                      <a:pt x="253" y="0"/>
                    </a:lnTo>
                    <a:lnTo>
                      <a:pt x="246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6346371" y="3585029"/>
            <a:ext cx="889000" cy="889000"/>
            <a:chOff x="6346371" y="3585029"/>
            <a:chExt cx="889000" cy="889000"/>
          </a:xfrm>
        </p:grpSpPr>
        <p:sp>
          <p:nvSpPr>
            <p:cNvPr id="76" name="Oval 75"/>
            <p:cNvSpPr/>
            <p:nvPr/>
          </p:nvSpPr>
          <p:spPr>
            <a:xfrm>
              <a:off x="6346371" y="3585029"/>
              <a:ext cx="889000" cy="889000"/>
            </a:xfrm>
            <a:prstGeom prst="ellipse">
              <a:avLst/>
            </a:pr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8" name="Freeform 167"/>
            <p:cNvSpPr>
              <a:spLocks noEditPoints="1"/>
            </p:cNvSpPr>
            <p:nvPr/>
          </p:nvSpPr>
          <p:spPr bwMode="auto">
            <a:xfrm>
              <a:off x="6638646" y="3765532"/>
              <a:ext cx="304450" cy="491351"/>
            </a:xfrm>
            <a:custGeom>
              <a:avLst/>
              <a:gdLst>
                <a:gd name="T0" fmla="*/ 1062 w 1298"/>
                <a:gd name="T1" fmla="*/ 148 h 2092"/>
                <a:gd name="T2" fmla="*/ 1291 w 1298"/>
                <a:gd name="T3" fmla="*/ 550 h 2092"/>
                <a:gd name="T4" fmla="*/ 1237 w 1298"/>
                <a:gd name="T5" fmla="*/ 978 h 2092"/>
                <a:gd name="T6" fmla="*/ 1018 w 1298"/>
                <a:gd name="T7" fmla="*/ 1381 h 2092"/>
                <a:gd name="T8" fmla="*/ 758 w 1298"/>
                <a:gd name="T9" fmla="*/ 1648 h 2092"/>
                <a:gd name="T10" fmla="*/ 554 w 1298"/>
                <a:gd name="T11" fmla="*/ 1593 h 2092"/>
                <a:gd name="T12" fmla="*/ 433 w 1298"/>
                <a:gd name="T13" fmla="*/ 1537 h 2092"/>
                <a:gd name="T14" fmla="*/ 244 w 1298"/>
                <a:gd name="T15" fmla="*/ 1335 h 2092"/>
                <a:gd name="T16" fmla="*/ 43 w 1298"/>
                <a:gd name="T17" fmla="*/ 920 h 2092"/>
                <a:gd name="T18" fmla="*/ 21 w 1298"/>
                <a:gd name="T19" fmla="*/ 487 h 2092"/>
                <a:gd name="T20" fmla="*/ 286 w 1298"/>
                <a:gd name="T21" fmla="*/ 111 h 2092"/>
                <a:gd name="T22" fmla="*/ 139 w 1298"/>
                <a:gd name="T23" fmla="*/ 848 h 2092"/>
                <a:gd name="T24" fmla="*/ 146 w 1298"/>
                <a:gd name="T25" fmla="*/ 815 h 2092"/>
                <a:gd name="T26" fmla="*/ 176 w 1298"/>
                <a:gd name="T27" fmla="*/ 796 h 2092"/>
                <a:gd name="T28" fmla="*/ 210 w 1298"/>
                <a:gd name="T29" fmla="*/ 802 h 2092"/>
                <a:gd name="T30" fmla="*/ 231 w 1298"/>
                <a:gd name="T31" fmla="*/ 828 h 2092"/>
                <a:gd name="T32" fmla="*/ 264 w 1298"/>
                <a:gd name="T33" fmla="*/ 920 h 2092"/>
                <a:gd name="T34" fmla="*/ 280 w 1298"/>
                <a:gd name="T35" fmla="*/ 964 h 2092"/>
                <a:gd name="T36" fmla="*/ 266 w 1298"/>
                <a:gd name="T37" fmla="*/ 995 h 2092"/>
                <a:gd name="T38" fmla="*/ 235 w 1298"/>
                <a:gd name="T39" fmla="*/ 1010 h 2092"/>
                <a:gd name="T40" fmla="*/ 202 w 1298"/>
                <a:gd name="T41" fmla="*/ 998 h 2092"/>
                <a:gd name="T42" fmla="*/ 161 w 1298"/>
                <a:gd name="T43" fmla="*/ 924 h 2092"/>
                <a:gd name="T44" fmla="*/ 485 w 1298"/>
                <a:gd name="T45" fmla="*/ 137 h 2092"/>
                <a:gd name="T46" fmla="*/ 518 w 1298"/>
                <a:gd name="T47" fmla="*/ 148 h 2092"/>
                <a:gd name="T48" fmla="*/ 535 w 1298"/>
                <a:gd name="T49" fmla="*/ 178 h 2092"/>
                <a:gd name="T50" fmla="*/ 527 w 1298"/>
                <a:gd name="T51" fmla="*/ 211 h 2092"/>
                <a:gd name="T52" fmla="*/ 485 w 1298"/>
                <a:gd name="T53" fmla="*/ 236 h 2092"/>
                <a:gd name="T54" fmla="*/ 369 w 1298"/>
                <a:gd name="T55" fmla="*/ 297 h 2092"/>
                <a:gd name="T56" fmla="*/ 286 w 1298"/>
                <a:gd name="T57" fmla="*/ 379 h 2092"/>
                <a:gd name="T58" fmla="*/ 238 w 1298"/>
                <a:gd name="T59" fmla="*/ 483 h 2092"/>
                <a:gd name="T60" fmla="*/ 220 w 1298"/>
                <a:gd name="T61" fmla="*/ 610 h 2092"/>
                <a:gd name="T62" fmla="*/ 211 w 1298"/>
                <a:gd name="T63" fmla="*/ 657 h 2092"/>
                <a:gd name="T64" fmla="*/ 183 w 1298"/>
                <a:gd name="T65" fmla="*/ 675 h 2092"/>
                <a:gd name="T66" fmla="*/ 148 w 1298"/>
                <a:gd name="T67" fmla="*/ 671 h 2092"/>
                <a:gd name="T68" fmla="*/ 127 w 1298"/>
                <a:gd name="T69" fmla="*/ 644 h 2092"/>
                <a:gd name="T70" fmla="*/ 129 w 1298"/>
                <a:gd name="T71" fmla="*/ 532 h 2092"/>
                <a:gd name="T72" fmla="*/ 171 w 1298"/>
                <a:gd name="T73" fmla="*/ 390 h 2092"/>
                <a:gd name="T74" fmla="*/ 251 w 1298"/>
                <a:gd name="T75" fmla="*/ 273 h 2092"/>
                <a:gd name="T76" fmla="*/ 371 w 1298"/>
                <a:gd name="T77" fmla="*/ 184 h 2092"/>
                <a:gd name="T78" fmla="*/ 865 w 1298"/>
                <a:gd name="T79" fmla="*/ 1800 h 2092"/>
                <a:gd name="T80" fmla="*/ 605 w 1298"/>
                <a:gd name="T81" fmla="*/ 1749 h 2092"/>
                <a:gd name="T82" fmla="*/ 480 w 1298"/>
                <a:gd name="T83" fmla="*/ 1701 h 2092"/>
                <a:gd name="T84" fmla="*/ 387 w 1298"/>
                <a:gd name="T85" fmla="*/ 1566 h 2092"/>
                <a:gd name="T86" fmla="*/ 562 w 1298"/>
                <a:gd name="T87" fmla="*/ 1647 h 2092"/>
                <a:gd name="T88" fmla="*/ 825 w 1298"/>
                <a:gd name="T89" fmla="*/ 1705 h 2092"/>
                <a:gd name="T90" fmla="*/ 913 w 1298"/>
                <a:gd name="T91" fmla="*/ 1942 h 2092"/>
                <a:gd name="T92" fmla="*/ 656 w 1298"/>
                <a:gd name="T93" fmla="*/ 1903 h 2092"/>
                <a:gd name="T94" fmla="*/ 504 w 1298"/>
                <a:gd name="T95" fmla="*/ 1850 h 2092"/>
                <a:gd name="T96" fmla="*/ 387 w 1298"/>
                <a:gd name="T97" fmla="*/ 1787 h 2092"/>
                <a:gd name="T98" fmla="*/ 515 w 1298"/>
                <a:gd name="T99" fmla="*/ 1767 h 2092"/>
                <a:gd name="T100" fmla="*/ 770 w 1298"/>
                <a:gd name="T101" fmla="*/ 1836 h 2092"/>
                <a:gd name="T102" fmla="*/ 867 w 1298"/>
                <a:gd name="T103" fmla="*/ 2025 h 2092"/>
                <a:gd name="T104" fmla="*/ 751 w 1298"/>
                <a:gd name="T105" fmla="*/ 2062 h 2092"/>
                <a:gd name="T106" fmla="*/ 588 w 1298"/>
                <a:gd name="T107" fmla="*/ 2020 h 2092"/>
                <a:gd name="T108" fmla="*/ 465 w 1298"/>
                <a:gd name="T109" fmla="*/ 1970 h 2092"/>
                <a:gd name="T110" fmla="*/ 380 w 1298"/>
                <a:gd name="T111" fmla="*/ 1901 h 2092"/>
                <a:gd name="T112" fmla="*/ 530 w 1298"/>
                <a:gd name="T113" fmla="*/ 1912 h 2092"/>
                <a:gd name="T114" fmla="*/ 774 w 1298"/>
                <a:gd name="T115" fmla="*/ 1975 h 2092"/>
                <a:gd name="T116" fmla="*/ 552 w 1298"/>
                <a:gd name="T117" fmla="*/ 2088 h 2092"/>
                <a:gd name="T118" fmla="*/ 456 w 1298"/>
                <a:gd name="T119" fmla="*/ 2046 h 2092"/>
                <a:gd name="T120" fmla="*/ 459 w 1298"/>
                <a:gd name="T121" fmla="*/ 2020 h 2092"/>
                <a:gd name="T122" fmla="*/ 640 w 1298"/>
                <a:gd name="T123" fmla="*/ 2086 h 2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98" h="2092">
                  <a:moveTo>
                    <a:pt x="649" y="0"/>
                  </a:moveTo>
                  <a:lnTo>
                    <a:pt x="683" y="0"/>
                  </a:lnTo>
                  <a:lnTo>
                    <a:pt x="716" y="2"/>
                  </a:lnTo>
                  <a:lnTo>
                    <a:pt x="748" y="7"/>
                  </a:lnTo>
                  <a:lnTo>
                    <a:pt x="780" y="12"/>
                  </a:lnTo>
                  <a:lnTo>
                    <a:pt x="812" y="20"/>
                  </a:lnTo>
                  <a:lnTo>
                    <a:pt x="842" y="28"/>
                  </a:lnTo>
                  <a:lnTo>
                    <a:pt x="873" y="38"/>
                  </a:lnTo>
                  <a:lnTo>
                    <a:pt x="902" y="51"/>
                  </a:lnTo>
                  <a:lnTo>
                    <a:pt x="931" y="63"/>
                  </a:lnTo>
                  <a:lnTo>
                    <a:pt x="958" y="78"/>
                  </a:lnTo>
                  <a:lnTo>
                    <a:pt x="985" y="94"/>
                  </a:lnTo>
                  <a:lnTo>
                    <a:pt x="1013" y="111"/>
                  </a:lnTo>
                  <a:lnTo>
                    <a:pt x="1037" y="129"/>
                  </a:lnTo>
                  <a:lnTo>
                    <a:pt x="1062" y="148"/>
                  </a:lnTo>
                  <a:lnTo>
                    <a:pt x="1086" y="168"/>
                  </a:lnTo>
                  <a:lnTo>
                    <a:pt x="1109" y="190"/>
                  </a:lnTo>
                  <a:lnTo>
                    <a:pt x="1130" y="212"/>
                  </a:lnTo>
                  <a:lnTo>
                    <a:pt x="1150" y="236"/>
                  </a:lnTo>
                  <a:lnTo>
                    <a:pt x="1170" y="260"/>
                  </a:lnTo>
                  <a:lnTo>
                    <a:pt x="1188" y="286"/>
                  </a:lnTo>
                  <a:lnTo>
                    <a:pt x="1205" y="312"/>
                  </a:lnTo>
                  <a:lnTo>
                    <a:pt x="1220" y="339"/>
                  </a:lnTo>
                  <a:lnTo>
                    <a:pt x="1235" y="367"/>
                  </a:lnTo>
                  <a:lnTo>
                    <a:pt x="1247" y="396"/>
                  </a:lnTo>
                  <a:lnTo>
                    <a:pt x="1259" y="426"/>
                  </a:lnTo>
                  <a:lnTo>
                    <a:pt x="1269" y="455"/>
                  </a:lnTo>
                  <a:lnTo>
                    <a:pt x="1278" y="487"/>
                  </a:lnTo>
                  <a:lnTo>
                    <a:pt x="1286" y="518"/>
                  </a:lnTo>
                  <a:lnTo>
                    <a:pt x="1291" y="550"/>
                  </a:lnTo>
                  <a:lnTo>
                    <a:pt x="1295" y="583"/>
                  </a:lnTo>
                  <a:lnTo>
                    <a:pt x="1298" y="615"/>
                  </a:lnTo>
                  <a:lnTo>
                    <a:pt x="1298" y="649"/>
                  </a:lnTo>
                  <a:lnTo>
                    <a:pt x="1298" y="673"/>
                  </a:lnTo>
                  <a:lnTo>
                    <a:pt x="1297" y="699"/>
                  </a:lnTo>
                  <a:lnTo>
                    <a:pt x="1295" y="725"/>
                  </a:lnTo>
                  <a:lnTo>
                    <a:pt x="1291" y="752"/>
                  </a:lnTo>
                  <a:lnTo>
                    <a:pt x="1287" y="779"/>
                  </a:lnTo>
                  <a:lnTo>
                    <a:pt x="1282" y="807"/>
                  </a:lnTo>
                  <a:lnTo>
                    <a:pt x="1277" y="835"/>
                  </a:lnTo>
                  <a:lnTo>
                    <a:pt x="1271" y="864"/>
                  </a:lnTo>
                  <a:lnTo>
                    <a:pt x="1263" y="892"/>
                  </a:lnTo>
                  <a:lnTo>
                    <a:pt x="1255" y="920"/>
                  </a:lnTo>
                  <a:lnTo>
                    <a:pt x="1246" y="950"/>
                  </a:lnTo>
                  <a:lnTo>
                    <a:pt x="1237" y="978"/>
                  </a:lnTo>
                  <a:lnTo>
                    <a:pt x="1227" y="1007"/>
                  </a:lnTo>
                  <a:lnTo>
                    <a:pt x="1216" y="1037"/>
                  </a:lnTo>
                  <a:lnTo>
                    <a:pt x="1205" y="1065"/>
                  </a:lnTo>
                  <a:lnTo>
                    <a:pt x="1192" y="1094"/>
                  </a:lnTo>
                  <a:lnTo>
                    <a:pt x="1180" y="1123"/>
                  </a:lnTo>
                  <a:lnTo>
                    <a:pt x="1166" y="1151"/>
                  </a:lnTo>
                  <a:lnTo>
                    <a:pt x="1153" y="1178"/>
                  </a:lnTo>
                  <a:lnTo>
                    <a:pt x="1138" y="1206"/>
                  </a:lnTo>
                  <a:lnTo>
                    <a:pt x="1122" y="1232"/>
                  </a:lnTo>
                  <a:lnTo>
                    <a:pt x="1106" y="1259"/>
                  </a:lnTo>
                  <a:lnTo>
                    <a:pt x="1089" y="1285"/>
                  </a:lnTo>
                  <a:lnTo>
                    <a:pt x="1072" y="1310"/>
                  </a:lnTo>
                  <a:lnTo>
                    <a:pt x="1055" y="1335"/>
                  </a:lnTo>
                  <a:lnTo>
                    <a:pt x="1037" y="1359"/>
                  </a:lnTo>
                  <a:lnTo>
                    <a:pt x="1018" y="1381"/>
                  </a:lnTo>
                  <a:lnTo>
                    <a:pt x="999" y="1404"/>
                  </a:lnTo>
                  <a:lnTo>
                    <a:pt x="980" y="1425"/>
                  </a:lnTo>
                  <a:lnTo>
                    <a:pt x="959" y="1446"/>
                  </a:lnTo>
                  <a:lnTo>
                    <a:pt x="939" y="1465"/>
                  </a:lnTo>
                  <a:lnTo>
                    <a:pt x="919" y="1483"/>
                  </a:lnTo>
                  <a:lnTo>
                    <a:pt x="919" y="1666"/>
                  </a:lnTo>
                  <a:lnTo>
                    <a:pt x="901" y="1665"/>
                  </a:lnTo>
                  <a:lnTo>
                    <a:pt x="883" y="1662"/>
                  </a:lnTo>
                  <a:lnTo>
                    <a:pt x="865" y="1661"/>
                  </a:lnTo>
                  <a:lnTo>
                    <a:pt x="847" y="1659"/>
                  </a:lnTo>
                  <a:lnTo>
                    <a:pt x="828" y="1658"/>
                  </a:lnTo>
                  <a:lnTo>
                    <a:pt x="812" y="1656"/>
                  </a:lnTo>
                  <a:lnTo>
                    <a:pt x="793" y="1653"/>
                  </a:lnTo>
                  <a:lnTo>
                    <a:pt x="775" y="1650"/>
                  </a:lnTo>
                  <a:lnTo>
                    <a:pt x="758" y="1648"/>
                  </a:lnTo>
                  <a:lnTo>
                    <a:pt x="742" y="1644"/>
                  </a:lnTo>
                  <a:lnTo>
                    <a:pt x="723" y="1641"/>
                  </a:lnTo>
                  <a:lnTo>
                    <a:pt x="707" y="1638"/>
                  </a:lnTo>
                  <a:lnTo>
                    <a:pt x="690" y="1634"/>
                  </a:lnTo>
                  <a:lnTo>
                    <a:pt x="673" y="1630"/>
                  </a:lnTo>
                  <a:lnTo>
                    <a:pt x="656" y="1625"/>
                  </a:lnTo>
                  <a:lnTo>
                    <a:pt x="639" y="1621"/>
                  </a:lnTo>
                  <a:lnTo>
                    <a:pt x="622" y="1616"/>
                  </a:lnTo>
                  <a:lnTo>
                    <a:pt x="605" y="1610"/>
                  </a:lnTo>
                  <a:lnTo>
                    <a:pt x="596" y="1608"/>
                  </a:lnTo>
                  <a:lnTo>
                    <a:pt x="587" y="1606"/>
                  </a:lnTo>
                  <a:lnTo>
                    <a:pt x="579" y="1602"/>
                  </a:lnTo>
                  <a:lnTo>
                    <a:pt x="570" y="1599"/>
                  </a:lnTo>
                  <a:lnTo>
                    <a:pt x="562" y="1597"/>
                  </a:lnTo>
                  <a:lnTo>
                    <a:pt x="554" y="1593"/>
                  </a:lnTo>
                  <a:lnTo>
                    <a:pt x="545" y="1590"/>
                  </a:lnTo>
                  <a:lnTo>
                    <a:pt x="537" y="1587"/>
                  </a:lnTo>
                  <a:lnTo>
                    <a:pt x="529" y="1583"/>
                  </a:lnTo>
                  <a:lnTo>
                    <a:pt x="520" y="1580"/>
                  </a:lnTo>
                  <a:lnTo>
                    <a:pt x="512" y="1577"/>
                  </a:lnTo>
                  <a:lnTo>
                    <a:pt x="504" y="1573"/>
                  </a:lnTo>
                  <a:lnTo>
                    <a:pt x="496" y="1570"/>
                  </a:lnTo>
                  <a:lnTo>
                    <a:pt x="489" y="1566"/>
                  </a:lnTo>
                  <a:lnTo>
                    <a:pt x="480" y="1562"/>
                  </a:lnTo>
                  <a:lnTo>
                    <a:pt x="472" y="1558"/>
                  </a:lnTo>
                  <a:lnTo>
                    <a:pt x="464" y="1554"/>
                  </a:lnTo>
                  <a:lnTo>
                    <a:pt x="456" y="1549"/>
                  </a:lnTo>
                  <a:lnTo>
                    <a:pt x="448" y="1546"/>
                  </a:lnTo>
                  <a:lnTo>
                    <a:pt x="441" y="1542"/>
                  </a:lnTo>
                  <a:lnTo>
                    <a:pt x="433" y="1537"/>
                  </a:lnTo>
                  <a:lnTo>
                    <a:pt x="425" y="1532"/>
                  </a:lnTo>
                  <a:lnTo>
                    <a:pt x="417" y="1528"/>
                  </a:lnTo>
                  <a:lnTo>
                    <a:pt x="410" y="1523"/>
                  </a:lnTo>
                  <a:lnTo>
                    <a:pt x="403" y="1519"/>
                  </a:lnTo>
                  <a:lnTo>
                    <a:pt x="395" y="1514"/>
                  </a:lnTo>
                  <a:lnTo>
                    <a:pt x="387" y="1510"/>
                  </a:lnTo>
                  <a:lnTo>
                    <a:pt x="380" y="1504"/>
                  </a:lnTo>
                  <a:lnTo>
                    <a:pt x="380" y="1483"/>
                  </a:lnTo>
                  <a:lnTo>
                    <a:pt x="359" y="1465"/>
                  </a:lnTo>
                  <a:lnTo>
                    <a:pt x="338" y="1446"/>
                  </a:lnTo>
                  <a:lnTo>
                    <a:pt x="319" y="1425"/>
                  </a:lnTo>
                  <a:lnTo>
                    <a:pt x="299" y="1404"/>
                  </a:lnTo>
                  <a:lnTo>
                    <a:pt x="280" y="1381"/>
                  </a:lnTo>
                  <a:lnTo>
                    <a:pt x="262" y="1359"/>
                  </a:lnTo>
                  <a:lnTo>
                    <a:pt x="244" y="1335"/>
                  </a:lnTo>
                  <a:lnTo>
                    <a:pt x="227" y="1310"/>
                  </a:lnTo>
                  <a:lnTo>
                    <a:pt x="209" y="1285"/>
                  </a:lnTo>
                  <a:lnTo>
                    <a:pt x="193" y="1259"/>
                  </a:lnTo>
                  <a:lnTo>
                    <a:pt x="177" y="1232"/>
                  </a:lnTo>
                  <a:lnTo>
                    <a:pt x="161" y="1206"/>
                  </a:lnTo>
                  <a:lnTo>
                    <a:pt x="146" y="1178"/>
                  </a:lnTo>
                  <a:lnTo>
                    <a:pt x="133" y="1151"/>
                  </a:lnTo>
                  <a:lnTo>
                    <a:pt x="119" y="1123"/>
                  </a:lnTo>
                  <a:lnTo>
                    <a:pt x="106" y="1094"/>
                  </a:lnTo>
                  <a:lnTo>
                    <a:pt x="93" y="1065"/>
                  </a:lnTo>
                  <a:lnTo>
                    <a:pt x="82" y="1037"/>
                  </a:lnTo>
                  <a:lnTo>
                    <a:pt x="71" y="1007"/>
                  </a:lnTo>
                  <a:lnTo>
                    <a:pt x="62" y="978"/>
                  </a:lnTo>
                  <a:lnTo>
                    <a:pt x="52" y="950"/>
                  </a:lnTo>
                  <a:lnTo>
                    <a:pt x="43" y="920"/>
                  </a:lnTo>
                  <a:lnTo>
                    <a:pt x="35" y="892"/>
                  </a:lnTo>
                  <a:lnTo>
                    <a:pt x="28" y="864"/>
                  </a:lnTo>
                  <a:lnTo>
                    <a:pt x="21" y="835"/>
                  </a:lnTo>
                  <a:lnTo>
                    <a:pt x="15" y="807"/>
                  </a:lnTo>
                  <a:lnTo>
                    <a:pt x="11" y="779"/>
                  </a:lnTo>
                  <a:lnTo>
                    <a:pt x="8" y="752"/>
                  </a:lnTo>
                  <a:lnTo>
                    <a:pt x="4" y="725"/>
                  </a:lnTo>
                  <a:lnTo>
                    <a:pt x="2" y="699"/>
                  </a:lnTo>
                  <a:lnTo>
                    <a:pt x="1" y="673"/>
                  </a:lnTo>
                  <a:lnTo>
                    <a:pt x="0" y="649"/>
                  </a:lnTo>
                  <a:lnTo>
                    <a:pt x="1" y="615"/>
                  </a:lnTo>
                  <a:lnTo>
                    <a:pt x="3" y="583"/>
                  </a:lnTo>
                  <a:lnTo>
                    <a:pt x="8" y="550"/>
                  </a:lnTo>
                  <a:lnTo>
                    <a:pt x="13" y="518"/>
                  </a:lnTo>
                  <a:lnTo>
                    <a:pt x="21" y="487"/>
                  </a:lnTo>
                  <a:lnTo>
                    <a:pt x="29" y="455"/>
                  </a:lnTo>
                  <a:lnTo>
                    <a:pt x="39" y="426"/>
                  </a:lnTo>
                  <a:lnTo>
                    <a:pt x="52" y="396"/>
                  </a:lnTo>
                  <a:lnTo>
                    <a:pt x="64" y="367"/>
                  </a:lnTo>
                  <a:lnTo>
                    <a:pt x="79" y="339"/>
                  </a:lnTo>
                  <a:lnTo>
                    <a:pt x="94" y="312"/>
                  </a:lnTo>
                  <a:lnTo>
                    <a:pt x="111" y="286"/>
                  </a:lnTo>
                  <a:lnTo>
                    <a:pt x="129" y="260"/>
                  </a:lnTo>
                  <a:lnTo>
                    <a:pt x="149" y="236"/>
                  </a:lnTo>
                  <a:lnTo>
                    <a:pt x="169" y="212"/>
                  </a:lnTo>
                  <a:lnTo>
                    <a:pt x="190" y="190"/>
                  </a:lnTo>
                  <a:lnTo>
                    <a:pt x="213" y="168"/>
                  </a:lnTo>
                  <a:lnTo>
                    <a:pt x="237" y="148"/>
                  </a:lnTo>
                  <a:lnTo>
                    <a:pt x="260" y="129"/>
                  </a:lnTo>
                  <a:lnTo>
                    <a:pt x="286" y="111"/>
                  </a:lnTo>
                  <a:lnTo>
                    <a:pt x="312" y="94"/>
                  </a:lnTo>
                  <a:lnTo>
                    <a:pt x="340" y="78"/>
                  </a:lnTo>
                  <a:lnTo>
                    <a:pt x="368" y="63"/>
                  </a:lnTo>
                  <a:lnTo>
                    <a:pt x="397" y="51"/>
                  </a:lnTo>
                  <a:lnTo>
                    <a:pt x="426" y="38"/>
                  </a:lnTo>
                  <a:lnTo>
                    <a:pt x="456" y="28"/>
                  </a:lnTo>
                  <a:lnTo>
                    <a:pt x="487" y="20"/>
                  </a:lnTo>
                  <a:lnTo>
                    <a:pt x="519" y="12"/>
                  </a:lnTo>
                  <a:lnTo>
                    <a:pt x="551" y="7"/>
                  </a:lnTo>
                  <a:lnTo>
                    <a:pt x="583" y="2"/>
                  </a:lnTo>
                  <a:lnTo>
                    <a:pt x="616" y="0"/>
                  </a:lnTo>
                  <a:lnTo>
                    <a:pt x="649" y="0"/>
                  </a:lnTo>
                  <a:close/>
                  <a:moveTo>
                    <a:pt x="139" y="854"/>
                  </a:moveTo>
                  <a:lnTo>
                    <a:pt x="139" y="851"/>
                  </a:lnTo>
                  <a:lnTo>
                    <a:pt x="139" y="848"/>
                  </a:lnTo>
                  <a:lnTo>
                    <a:pt x="139" y="846"/>
                  </a:lnTo>
                  <a:lnTo>
                    <a:pt x="137" y="844"/>
                  </a:lnTo>
                  <a:lnTo>
                    <a:pt x="137" y="841"/>
                  </a:lnTo>
                  <a:lnTo>
                    <a:pt x="139" y="839"/>
                  </a:lnTo>
                  <a:lnTo>
                    <a:pt x="139" y="837"/>
                  </a:lnTo>
                  <a:lnTo>
                    <a:pt x="139" y="835"/>
                  </a:lnTo>
                  <a:lnTo>
                    <a:pt x="139" y="832"/>
                  </a:lnTo>
                  <a:lnTo>
                    <a:pt x="140" y="830"/>
                  </a:lnTo>
                  <a:lnTo>
                    <a:pt x="141" y="828"/>
                  </a:lnTo>
                  <a:lnTo>
                    <a:pt x="141" y="825"/>
                  </a:lnTo>
                  <a:lnTo>
                    <a:pt x="142" y="823"/>
                  </a:lnTo>
                  <a:lnTo>
                    <a:pt x="143" y="821"/>
                  </a:lnTo>
                  <a:lnTo>
                    <a:pt x="144" y="820"/>
                  </a:lnTo>
                  <a:lnTo>
                    <a:pt x="145" y="818"/>
                  </a:lnTo>
                  <a:lnTo>
                    <a:pt x="146" y="815"/>
                  </a:lnTo>
                  <a:lnTo>
                    <a:pt x="148" y="813"/>
                  </a:lnTo>
                  <a:lnTo>
                    <a:pt x="150" y="812"/>
                  </a:lnTo>
                  <a:lnTo>
                    <a:pt x="151" y="810"/>
                  </a:lnTo>
                  <a:lnTo>
                    <a:pt x="152" y="809"/>
                  </a:lnTo>
                  <a:lnTo>
                    <a:pt x="154" y="807"/>
                  </a:lnTo>
                  <a:lnTo>
                    <a:pt x="157" y="805"/>
                  </a:lnTo>
                  <a:lnTo>
                    <a:pt x="158" y="804"/>
                  </a:lnTo>
                  <a:lnTo>
                    <a:pt x="160" y="803"/>
                  </a:lnTo>
                  <a:lnTo>
                    <a:pt x="162" y="802"/>
                  </a:lnTo>
                  <a:lnTo>
                    <a:pt x="163" y="801"/>
                  </a:lnTo>
                  <a:lnTo>
                    <a:pt x="166" y="800"/>
                  </a:lnTo>
                  <a:lnTo>
                    <a:pt x="168" y="798"/>
                  </a:lnTo>
                  <a:lnTo>
                    <a:pt x="170" y="797"/>
                  </a:lnTo>
                  <a:lnTo>
                    <a:pt x="172" y="797"/>
                  </a:lnTo>
                  <a:lnTo>
                    <a:pt x="176" y="796"/>
                  </a:lnTo>
                  <a:lnTo>
                    <a:pt x="178" y="796"/>
                  </a:lnTo>
                  <a:lnTo>
                    <a:pt x="180" y="796"/>
                  </a:lnTo>
                  <a:lnTo>
                    <a:pt x="183" y="795"/>
                  </a:lnTo>
                  <a:lnTo>
                    <a:pt x="185" y="795"/>
                  </a:lnTo>
                  <a:lnTo>
                    <a:pt x="187" y="795"/>
                  </a:lnTo>
                  <a:lnTo>
                    <a:pt x="189" y="795"/>
                  </a:lnTo>
                  <a:lnTo>
                    <a:pt x="192" y="796"/>
                  </a:lnTo>
                  <a:lnTo>
                    <a:pt x="194" y="796"/>
                  </a:lnTo>
                  <a:lnTo>
                    <a:pt x="196" y="796"/>
                  </a:lnTo>
                  <a:lnTo>
                    <a:pt x="198" y="797"/>
                  </a:lnTo>
                  <a:lnTo>
                    <a:pt x="201" y="797"/>
                  </a:lnTo>
                  <a:lnTo>
                    <a:pt x="203" y="798"/>
                  </a:lnTo>
                  <a:lnTo>
                    <a:pt x="205" y="800"/>
                  </a:lnTo>
                  <a:lnTo>
                    <a:pt x="207" y="801"/>
                  </a:lnTo>
                  <a:lnTo>
                    <a:pt x="210" y="802"/>
                  </a:lnTo>
                  <a:lnTo>
                    <a:pt x="211" y="803"/>
                  </a:lnTo>
                  <a:lnTo>
                    <a:pt x="213" y="804"/>
                  </a:lnTo>
                  <a:lnTo>
                    <a:pt x="215" y="805"/>
                  </a:lnTo>
                  <a:lnTo>
                    <a:pt x="216" y="806"/>
                  </a:lnTo>
                  <a:lnTo>
                    <a:pt x="219" y="809"/>
                  </a:lnTo>
                  <a:lnTo>
                    <a:pt x="220" y="810"/>
                  </a:lnTo>
                  <a:lnTo>
                    <a:pt x="222" y="812"/>
                  </a:lnTo>
                  <a:lnTo>
                    <a:pt x="223" y="813"/>
                  </a:lnTo>
                  <a:lnTo>
                    <a:pt x="224" y="815"/>
                  </a:lnTo>
                  <a:lnTo>
                    <a:pt x="225" y="818"/>
                  </a:lnTo>
                  <a:lnTo>
                    <a:pt x="227" y="819"/>
                  </a:lnTo>
                  <a:lnTo>
                    <a:pt x="228" y="821"/>
                  </a:lnTo>
                  <a:lnTo>
                    <a:pt x="229" y="823"/>
                  </a:lnTo>
                  <a:lnTo>
                    <a:pt x="230" y="825"/>
                  </a:lnTo>
                  <a:lnTo>
                    <a:pt x="231" y="828"/>
                  </a:lnTo>
                  <a:lnTo>
                    <a:pt x="231" y="830"/>
                  </a:lnTo>
                  <a:lnTo>
                    <a:pt x="232" y="832"/>
                  </a:lnTo>
                  <a:lnTo>
                    <a:pt x="233" y="838"/>
                  </a:lnTo>
                  <a:lnTo>
                    <a:pt x="236" y="845"/>
                  </a:lnTo>
                  <a:lnTo>
                    <a:pt x="237" y="851"/>
                  </a:lnTo>
                  <a:lnTo>
                    <a:pt x="239" y="858"/>
                  </a:lnTo>
                  <a:lnTo>
                    <a:pt x="241" y="866"/>
                  </a:lnTo>
                  <a:lnTo>
                    <a:pt x="245" y="873"/>
                  </a:lnTo>
                  <a:lnTo>
                    <a:pt x="247" y="881"/>
                  </a:lnTo>
                  <a:lnTo>
                    <a:pt x="250" y="889"/>
                  </a:lnTo>
                  <a:lnTo>
                    <a:pt x="253" y="896"/>
                  </a:lnTo>
                  <a:lnTo>
                    <a:pt x="255" y="902"/>
                  </a:lnTo>
                  <a:lnTo>
                    <a:pt x="258" y="908"/>
                  </a:lnTo>
                  <a:lnTo>
                    <a:pt x="260" y="915"/>
                  </a:lnTo>
                  <a:lnTo>
                    <a:pt x="264" y="920"/>
                  </a:lnTo>
                  <a:lnTo>
                    <a:pt x="267" y="926"/>
                  </a:lnTo>
                  <a:lnTo>
                    <a:pt x="270" y="932"/>
                  </a:lnTo>
                  <a:lnTo>
                    <a:pt x="273" y="937"/>
                  </a:lnTo>
                  <a:lnTo>
                    <a:pt x="274" y="940"/>
                  </a:lnTo>
                  <a:lnTo>
                    <a:pt x="275" y="942"/>
                  </a:lnTo>
                  <a:lnTo>
                    <a:pt x="276" y="944"/>
                  </a:lnTo>
                  <a:lnTo>
                    <a:pt x="277" y="946"/>
                  </a:lnTo>
                  <a:lnTo>
                    <a:pt x="277" y="949"/>
                  </a:lnTo>
                  <a:lnTo>
                    <a:pt x="279" y="951"/>
                  </a:lnTo>
                  <a:lnTo>
                    <a:pt x="279" y="953"/>
                  </a:lnTo>
                  <a:lnTo>
                    <a:pt x="280" y="955"/>
                  </a:lnTo>
                  <a:lnTo>
                    <a:pt x="280" y="958"/>
                  </a:lnTo>
                  <a:lnTo>
                    <a:pt x="280" y="960"/>
                  </a:lnTo>
                  <a:lnTo>
                    <a:pt x="280" y="962"/>
                  </a:lnTo>
                  <a:lnTo>
                    <a:pt x="280" y="964"/>
                  </a:lnTo>
                  <a:lnTo>
                    <a:pt x="280" y="967"/>
                  </a:lnTo>
                  <a:lnTo>
                    <a:pt x="280" y="969"/>
                  </a:lnTo>
                  <a:lnTo>
                    <a:pt x="279" y="971"/>
                  </a:lnTo>
                  <a:lnTo>
                    <a:pt x="279" y="973"/>
                  </a:lnTo>
                  <a:lnTo>
                    <a:pt x="277" y="976"/>
                  </a:lnTo>
                  <a:lnTo>
                    <a:pt x="277" y="978"/>
                  </a:lnTo>
                  <a:lnTo>
                    <a:pt x="276" y="980"/>
                  </a:lnTo>
                  <a:lnTo>
                    <a:pt x="275" y="982"/>
                  </a:lnTo>
                  <a:lnTo>
                    <a:pt x="274" y="984"/>
                  </a:lnTo>
                  <a:lnTo>
                    <a:pt x="273" y="986"/>
                  </a:lnTo>
                  <a:lnTo>
                    <a:pt x="272" y="988"/>
                  </a:lnTo>
                  <a:lnTo>
                    <a:pt x="271" y="990"/>
                  </a:lnTo>
                  <a:lnTo>
                    <a:pt x="270" y="992"/>
                  </a:lnTo>
                  <a:lnTo>
                    <a:pt x="267" y="994"/>
                  </a:lnTo>
                  <a:lnTo>
                    <a:pt x="266" y="995"/>
                  </a:lnTo>
                  <a:lnTo>
                    <a:pt x="264" y="997"/>
                  </a:lnTo>
                  <a:lnTo>
                    <a:pt x="263" y="998"/>
                  </a:lnTo>
                  <a:lnTo>
                    <a:pt x="260" y="999"/>
                  </a:lnTo>
                  <a:lnTo>
                    <a:pt x="258" y="1002"/>
                  </a:lnTo>
                  <a:lnTo>
                    <a:pt x="256" y="1003"/>
                  </a:lnTo>
                  <a:lnTo>
                    <a:pt x="254" y="1004"/>
                  </a:lnTo>
                  <a:lnTo>
                    <a:pt x="253" y="1005"/>
                  </a:lnTo>
                  <a:lnTo>
                    <a:pt x="250" y="1006"/>
                  </a:lnTo>
                  <a:lnTo>
                    <a:pt x="248" y="1007"/>
                  </a:lnTo>
                  <a:lnTo>
                    <a:pt x="246" y="1007"/>
                  </a:lnTo>
                  <a:lnTo>
                    <a:pt x="244" y="1008"/>
                  </a:lnTo>
                  <a:lnTo>
                    <a:pt x="241" y="1008"/>
                  </a:lnTo>
                  <a:lnTo>
                    <a:pt x="239" y="1008"/>
                  </a:lnTo>
                  <a:lnTo>
                    <a:pt x="237" y="1010"/>
                  </a:lnTo>
                  <a:lnTo>
                    <a:pt x="235" y="1010"/>
                  </a:lnTo>
                  <a:lnTo>
                    <a:pt x="231" y="1010"/>
                  </a:lnTo>
                  <a:lnTo>
                    <a:pt x="229" y="1010"/>
                  </a:lnTo>
                  <a:lnTo>
                    <a:pt x="227" y="1010"/>
                  </a:lnTo>
                  <a:lnTo>
                    <a:pt x="225" y="1008"/>
                  </a:lnTo>
                  <a:lnTo>
                    <a:pt x="223" y="1008"/>
                  </a:lnTo>
                  <a:lnTo>
                    <a:pt x="221" y="1008"/>
                  </a:lnTo>
                  <a:lnTo>
                    <a:pt x="219" y="1007"/>
                  </a:lnTo>
                  <a:lnTo>
                    <a:pt x="216" y="1006"/>
                  </a:lnTo>
                  <a:lnTo>
                    <a:pt x="214" y="1006"/>
                  </a:lnTo>
                  <a:lnTo>
                    <a:pt x="212" y="1005"/>
                  </a:lnTo>
                  <a:lnTo>
                    <a:pt x="210" y="1004"/>
                  </a:lnTo>
                  <a:lnTo>
                    <a:pt x="207" y="1003"/>
                  </a:lnTo>
                  <a:lnTo>
                    <a:pt x="206" y="1002"/>
                  </a:lnTo>
                  <a:lnTo>
                    <a:pt x="204" y="1001"/>
                  </a:lnTo>
                  <a:lnTo>
                    <a:pt x="202" y="998"/>
                  </a:lnTo>
                  <a:lnTo>
                    <a:pt x="201" y="997"/>
                  </a:lnTo>
                  <a:lnTo>
                    <a:pt x="198" y="996"/>
                  </a:lnTo>
                  <a:lnTo>
                    <a:pt x="197" y="994"/>
                  </a:lnTo>
                  <a:lnTo>
                    <a:pt x="195" y="993"/>
                  </a:lnTo>
                  <a:lnTo>
                    <a:pt x="194" y="990"/>
                  </a:lnTo>
                  <a:lnTo>
                    <a:pt x="193" y="988"/>
                  </a:lnTo>
                  <a:lnTo>
                    <a:pt x="192" y="986"/>
                  </a:lnTo>
                  <a:lnTo>
                    <a:pt x="187" y="979"/>
                  </a:lnTo>
                  <a:lnTo>
                    <a:pt x="183" y="971"/>
                  </a:lnTo>
                  <a:lnTo>
                    <a:pt x="179" y="963"/>
                  </a:lnTo>
                  <a:lnTo>
                    <a:pt x="175" y="955"/>
                  </a:lnTo>
                  <a:lnTo>
                    <a:pt x="171" y="947"/>
                  </a:lnTo>
                  <a:lnTo>
                    <a:pt x="168" y="940"/>
                  </a:lnTo>
                  <a:lnTo>
                    <a:pt x="165" y="932"/>
                  </a:lnTo>
                  <a:lnTo>
                    <a:pt x="161" y="924"/>
                  </a:lnTo>
                  <a:lnTo>
                    <a:pt x="158" y="915"/>
                  </a:lnTo>
                  <a:lnTo>
                    <a:pt x="154" y="905"/>
                  </a:lnTo>
                  <a:lnTo>
                    <a:pt x="151" y="896"/>
                  </a:lnTo>
                  <a:lnTo>
                    <a:pt x="148" y="886"/>
                  </a:lnTo>
                  <a:lnTo>
                    <a:pt x="145" y="877"/>
                  </a:lnTo>
                  <a:lnTo>
                    <a:pt x="143" y="868"/>
                  </a:lnTo>
                  <a:lnTo>
                    <a:pt x="141" y="860"/>
                  </a:lnTo>
                  <a:lnTo>
                    <a:pt x="139" y="854"/>
                  </a:lnTo>
                  <a:close/>
                  <a:moveTo>
                    <a:pt x="472" y="140"/>
                  </a:moveTo>
                  <a:lnTo>
                    <a:pt x="474" y="139"/>
                  </a:lnTo>
                  <a:lnTo>
                    <a:pt x="476" y="138"/>
                  </a:lnTo>
                  <a:lnTo>
                    <a:pt x="478" y="138"/>
                  </a:lnTo>
                  <a:lnTo>
                    <a:pt x="481" y="138"/>
                  </a:lnTo>
                  <a:lnTo>
                    <a:pt x="483" y="137"/>
                  </a:lnTo>
                  <a:lnTo>
                    <a:pt x="485" y="137"/>
                  </a:lnTo>
                  <a:lnTo>
                    <a:pt x="487" y="137"/>
                  </a:lnTo>
                  <a:lnTo>
                    <a:pt x="491" y="137"/>
                  </a:lnTo>
                  <a:lnTo>
                    <a:pt x="493" y="138"/>
                  </a:lnTo>
                  <a:lnTo>
                    <a:pt x="495" y="138"/>
                  </a:lnTo>
                  <a:lnTo>
                    <a:pt x="498" y="138"/>
                  </a:lnTo>
                  <a:lnTo>
                    <a:pt x="500" y="139"/>
                  </a:lnTo>
                  <a:lnTo>
                    <a:pt x="501" y="139"/>
                  </a:lnTo>
                  <a:lnTo>
                    <a:pt x="503" y="140"/>
                  </a:lnTo>
                  <a:lnTo>
                    <a:pt x="506" y="141"/>
                  </a:lnTo>
                  <a:lnTo>
                    <a:pt x="508" y="142"/>
                  </a:lnTo>
                  <a:lnTo>
                    <a:pt x="510" y="142"/>
                  </a:lnTo>
                  <a:lnTo>
                    <a:pt x="512" y="143"/>
                  </a:lnTo>
                  <a:lnTo>
                    <a:pt x="513" y="146"/>
                  </a:lnTo>
                  <a:lnTo>
                    <a:pt x="516" y="147"/>
                  </a:lnTo>
                  <a:lnTo>
                    <a:pt x="518" y="148"/>
                  </a:lnTo>
                  <a:lnTo>
                    <a:pt x="519" y="149"/>
                  </a:lnTo>
                  <a:lnTo>
                    <a:pt x="521" y="151"/>
                  </a:lnTo>
                  <a:lnTo>
                    <a:pt x="522" y="152"/>
                  </a:lnTo>
                  <a:lnTo>
                    <a:pt x="524" y="155"/>
                  </a:lnTo>
                  <a:lnTo>
                    <a:pt x="526" y="156"/>
                  </a:lnTo>
                  <a:lnTo>
                    <a:pt x="527" y="158"/>
                  </a:lnTo>
                  <a:lnTo>
                    <a:pt x="528" y="160"/>
                  </a:lnTo>
                  <a:lnTo>
                    <a:pt x="529" y="163"/>
                  </a:lnTo>
                  <a:lnTo>
                    <a:pt x="530" y="165"/>
                  </a:lnTo>
                  <a:lnTo>
                    <a:pt x="531" y="167"/>
                  </a:lnTo>
                  <a:lnTo>
                    <a:pt x="533" y="169"/>
                  </a:lnTo>
                  <a:lnTo>
                    <a:pt x="533" y="172"/>
                  </a:lnTo>
                  <a:lnTo>
                    <a:pt x="534" y="174"/>
                  </a:lnTo>
                  <a:lnTo>
                    <a:pt x="534" y="176"/>
                  </a:lnTo>
                  <a:lnTo>
                    <a:pt x="535" y="178"/>
                  </a:lnTo>
                  <a:lnTo>
                    <a:pt x="535" y="181"/>
                  </a:lnTo>
                  <a:lnTo>
                    <a:pt x="535" y="183"/>
                  </a:lnTo>
                  <a:lnTo>
                    <a:pt x="535" y="185"/>
                  </a:lnTo>
                  <a:lnTo>
                    <a:pt x="535" y="187"/>
                  </a:lnTo>
                  <a:lnTo>
                    <a:pt x="535" y="190"/>
                  </a:lnTo>
                  <a:lnTo>
                    <a:pt x="535" y="192"/>
                  </a:lnTo>
                  <a:lnTo>
                    <a:pt x="534" y="194"/>
                  </a:lnTo>
                  <a:lnTo>
                    <a:pt x="534" y="196"/>
                  </a:lnTo>
                  <a:lnTo>
                    <a:pt x="533" y="199"/>
                  </a:lnTo>
                  <a:lnTo>
                    <a:pt x="531" y="201"/>
                  </a:lnTo>
                  <a:lnTo>
                    <a:pt x="531" y="203"/>
                  </a:lnTo>
                  <a:lnTo>
                    <a:pt x="530" y="205"/>
                  </a:lnTo>
                  <a:lnTo>
                    <a:pt x="529" y="208"/>
                  </a:lnTo>
                  <a:lnTo>
                    <a:pt x="528" y="209"/>
                  </a:lnTo>
                  <a:lnTo>
                    <a:pt x="527" y="211"/>
                  </a:lnTo>
                  <a:lnTo>
                    <a:pt x="526" y="213"/>
                  </a:lnTo>
                  <a:lnTo>
                    <a:pt x="524" y="214"/>
                  </a:lnTo>
                  <a:lnTo>
                    <a:pt x="522" y="217"/>
                  </a:lnTo>
                  <a:lnTo>
                    <a:pt x="521" y="219"/>
                  </a:lnTo>
                  <a:lnTo>
                    <a:pt x="519" y="220"/>
                  </a:lnTo>
                  <a:lnTo>
                    <a:pt x="518" y="221"/>
                  </a:lnTo>
                  <a:lnTo>
                    <a:pt x="516" y="224"/>
                  </a:lnTo>
                  <a:lnTo>
                    <a:pt x="513" y="225"/>
                  </a:lnTo>
                  <a:lnTo>
                    <a:pt x="511" y="226"/>
                  </a:lnTo>
                  <a:lnTo>
                    <a:pt x="510" y="227"/>
                  </a:lnTo>
                  <a:lnTo>
                    <a:pt x="508" y="228"/>
                  </a:lnTo>
                  <a:lnTo>
                    <a:pt x="506" y="229"/>
                  </a:lnTo>
                  <a:lnTo>
                    <a:pt x="503" y="229"/>
                  </a:lnTo>
                  <a:lnTo>
                    <a:pt x="494" y="233"/>
                  </a:lnTo>
                  <a:lnTo>
                    <a:pt x="485" y="236"/>
                  </a:lnTo>
                  <a:lnTo>
                    <a:pt x="476" y="239"/>
                  </a:lnTo>
                  <a:lnTo>
                    <a:pt x="468" y="243"/>
                  </a:lnTo>
                  <a:lnTo>
                    <a:pt x="459" y="247"/>
                  </a:lnTo>
                  <a:lnTo>
                    <a:pt x="451" y="251"/>
                  </a:lnTo>
                  <a:lnTo>
                    <a:pt x="442" y="254"/>
                  </a:lnTo>
                  <a:lnTo>
                    <a:pt x="434" y="259"/>
                  </a:lnTo>
                  <a:lnTo>
                    <a:pt x="426" y="262"/>
                  </a:lnTo>
                  <a:lnTo>
                    <a:pt x="420" y="266"/>
                  </a:lnTo>
                  <a:lnTo>
                    <a:pt x="412" y="270"/>
                  </a:lnTo>
                  <a:lnTo>
                    <a:pt x="404" y="274"/>
                  </a:lnTo>
                  <a:lnTo>
                    <a:pt x="397" y="279"/>
                  </a:lnTo>
                  <a:lnTo>
                    <a:pt x="389" y="283"/>
                  </a:lnTo>
                  <a:lnTo>
                    <a:pt x="382" y="288"/>
                  </a:lnTo>
                  <a:lnTo>
                    <a:pt x="376" y="292"/>
                  </a:lnTo>
                  <a:lnTo>
                    <a:pt x="369" y="297"/>
                  </a:lnTo>
                  <a:lnTo>
                    <a:pt x="362" y="303"/>
                  </a:lnTo>
                  <a:lnTo>
                    <a:pt x="356" y="307"/>
                  </a:lnTo>
                  <a:lnTo>
                    <a:pt x="350" y="312"/>
                  </a:lnTo>
                  <a:lnTo>
                    <a:pt x="344" y="317"/>
                  </a:lnTo>
                  <a:lnTo>
                    <a:pt x="338" y="322"/>
                  </a:lnTo>
                  <a:lnTo>
                    <a:pt x="333" y="327"/>
                  </a:lnTo>
                  <a:lnTo>
                    <a:pt x="327" y="333"/>
                  </a:lnTo>
                  <a:lnTo>
                    <a:pt x="321" y="339"/>
                  </a:lnTo>
                  <a:lnTo>
                    <a:pt x="316" y="344"/>
                  </a:lnTo>
                  <a:lnTo>
                    <a:pt x="310" y="350"/>
                  </a:lnTo>
                  <a:lnTo>
                    <a:pt x="306" y="356"/>
                  </a:lnTo>
                  <a:lnTo>
                    <a:pt x="301" y="361"/>
                  </a:lnTo>
                  <a:lnTo>
                    <a:pt x="295" y="367"/>
                  </a:lnTo>
                  <a:lnTo>
                    <a:pt x="291" y="374"/>
                  </a:lnTo>
                  <a:lnTo>
                    <a:pt x="286" y="379"/>
                  </a:lnTo>
                  <a:lnTo>
                    <a:pt x="283" y="385"/>
                  </a:lnTo>
                  <a:lnTo>
                    <a:pt x="279" y="392"/>
                  </a:lnTo>
                  <a:lnTo>
                    <a:pt x="274" y="399"/>
                  </a:lnTo>
                  <a:lnTo>
                    <a:pt x="271" y="404"/>
                  </a:lnTo>
                  <a:lnTo>
                    <a:pt x="267" y="411"/>
                  </a:lnTo>
                  <a:lnTo>
                    <a:pt x="264" y="418"/>
                  </a:lnTo>
                  <a:lnTo>
                    <a:pt x="259" y="425"/>
                  </a:lnTo>
                  <a:lnTo>
                    <a:pt x="257" y="431"/>
                  </a:lnTo>
                  <a:lnTo>
                    <a:pt x="254" y="439"/>
                  </a:lnTo>
                  <a:lnTo>
                    <a:pt x="250" y="446"/>
                  </a:lnTo>
                  <a:lnTo>
                    <a:pt x="248" y="453"/>
                  </a:lnTo>
                  <a:lnTo>
                    <a:pt x="245" y="461"/>
                  </a:lnTo>
                  <a:lnTo>
                    <a:pt x="242" y="469"/>
                  </a:lnTo>
                  <a:lnTo>
                    <a:pt x="240" y="475"/>
                  </a:lnTo>
                  <a:lnTo>
                    <a:pt x="238" y="483"/>
                  </a:lnTo>
                  <a:lnTo>
                    <a:pt x="236" y="491"/>
                  </a:lnTo>
                  <a:lnTo>
                    <a:pt x="233" y="499"/>
                  </a:lnTo>
                  <a:lnTo>
                    <a:pt x="231" y="507"/>
                  </a:lnTo>
                  <a:lnTo>
                    <a:pt x="230" y="515"/>
                  </a:lnTo>
                  <a:lnTo>
                    <a:pt x="228" y="523"/>
                  </a:lnTo>
                  <a:lnTo>
                    <a:pt x="227" y="531"/>
                  </a:lnTo>
                  <a:lnTo>
                    <a:pt x="225" y="540"/>
                  </a:lnTo>
                  <a:lnTo>
                    <a:pt x="224" y="548"/>
                  </a:lnTo>
                  <a:lnTo>
                    <a:pt x="223" y="557"/>
                  </a:lnTo>
                  <a:lnTo>
                    <a:pt x="222" y="565"/>
                  </a:lnTo>
                  <a:lnTo>
                    <a:pt x="221" y="574"/>
                  </a:lnTo>
                  <a:lnTo>
                    <a:pt x="221" y="583"/>
                  </a:lnTo>
                  <a:lnTo>
                    <a:pt x="220" y="592"/>
                  </a:lnTo>
                  <a:lnTo>
                    <a:pt x="220" y="601"/>
                  </a:lnTo>
                  <a:lnTo>
                    <a:pt x="220" y="610"/>
                  </a:lnTo>
                  <a:lnTo>
                    <a:pt x="220" y="619"/>
                  </a:lnTo>
                  <a:lnTo>
                    <a:pt x="220" y="629"/>
                  </a:lnTo>
                  <a:lnTo>
                    <a:pt x="220" y="631"/>
                  </a:lnTo>
                  <a:lnTo>
                    <a:pt x="220" y="633"/>
                  </a:lnTo>
                  <a:lnTo>
                    <a:pt x="220" y="636"/>
                  </a:lnTo>
                  <a:lnTo>
                    <a:pt x="219" y="638"/>
                  </a:lnTo>
                  <a:lnTo>
                    <a:pt x="219" y="640"/>
                  </a:lnTo>
                  <a:lnTo>
                    <a:pt x="218" y="643"/>
                  </a:lnTo>
                  <a:lnTo>
                    <a:pt x="218" y="645"/>
                  </a:lnTo>
                  <a:lnTo>
                    <a:pt x="216" y="647"/>
                  </a:lnTo>
                  <a:lnTo>
                    <a:pt x="215" y="649"/>
                  </a:lnTo>
                  <a:lnTo>
                    <a:pt x="214" y="652"/>
                  </a:lnTo>
                  <a:lnTo>
                    <a:pt x="213" y="654"/>
                  </a:lnTo>
                  <a:lnTo>
                    <a:pt x="212" y="655"/>
                  </a:lnTo>
                  <a:lnTo>
                    <a:pt x="211" y="657"/>
                  </a:lnTo>
                  <a:lnTo>
                    <a:pt x="210" y="659"/>
                  </a:lnTo>
                  <a:lnTo>
                    <a:pt x="207" y="661"/>
                  </a:lnTo>
                  <a:lnTo>
                    <a:pt x="206" y="663"/>
                  </a:lnTo>
                  <a:lnTo>
                    <a:pt x="205" y="664"/>
                  </a:lnTo>
                  <a:lnTo>
                    <a:pt x="203" y="665"/>
                  </a:lnTo>
                  <a:lnTo>
                    <a:pt x="202" y="667"/>
                  </a:lnTo>
                  <a:lnTo>
                    <a:pt x="200" y="668"/>
                  </a:lnTo>
                  <a:lnTo>
                    <a:pt x="197" y="670"/>
                  </a:lnTo>
                  <a:lnTo>
                    <a:pt x="195" y="671"/>
                  </a:lnTo>
                  <a:lnTo>
                    <a:pt x="194" y="672"/>
                  </a:lnTo>
                  <a:lnTo>
                    <a:pt x="192" y="673"/>
                  </a:lnTo>
                  <a:lnTo>
                    <a:pt x="189" y="674"/>
                  </a:lnTo>
                  <a:lnTo>
                    <a:pt x="187" y="674"/>
                  </a:lnTo>
                  <a:lnTo>
                    <a:pt x="185" y="675"/>
                  </a:lnTo>
                  <a:lnTo>
                    <a:pt x="183" y="675"/>
                  </a:lnTo>
                  <a:lnTo>
                    <a:pt x="180" y="676"/>
                  </a:lnTo>
                  <a:lnTo>
                    <a:pt x="178" y="676"/>
                  </a:lnTo>
                  <a:lnTo>
                    <a:pt x="176" y="676"/>
                  </a:lnTo>
                  <a:lnTo>
                    <a:pt x="172" y="676"/>
                  </a:lnTo>
                  <a:lnTo>
                    <a:pt x="170" y="676"/>
                  </a:lnTo>
                  <a:lnTo>
                    <a:pt x="168" y="676"/>
                  </a:lnTo>
                  <a:lnTo>
                    <a:pt x="166" y="676"/>
                  </a:lnTo>
                  <a:lnTo>
                    <a:pt x="163" y="676"/>
                  </a:lnTo>
                  <a:lnTo>
                    <a:pt x="161" y="675"/>
                  </a:lnTo>
                  <a:lnTo>
                    <a:pt x="159" y="675"/>
                  </a:lnTo>
                  <a:lnTo>
                    <a:pt x="157" y="674"/>
                  </a:lnTo>
                  <a:lnTo>
                    <a:pt x="154" y="673"/>
                  </a:lnTo>
                  <a:lnTo>
                    <a:pt x="152" y="673"/>
                  </a:lnTo>
                  <a:lnTo>
                    <a:pt x="150" y="672"/>
                  </a:lnTo>
                  <a:lnTo>
                    <a:pt x="148" y="671"/>
                  </a:lnTo>
                  <a:lnTo>
                    <a:pt x="146" y="670"/>
                  </a:lnTo>
                  <a:lnTo>
                    <a:pt x="144" y="668"/>
                  </a:lnTo>
                  <a:lnTo>
                    <a:pt x="142" y="666"/>
                  </a:lnTo>
                  <a:lnTo>
                    <a:pt x="141" y="665"/>
                  </a:lnTo>
                  <a:lnTo>
                    <a:pt x="139" y="664"/>
                  </a:lnTo>
                  <a:lnTo>
                    <a:pt x="137" y="662"/>
                  </a:lnTo>
                  <a:lnTo>
                    <a:pt x="136" y="661"/>
                  </a:lnTo>
                  <a:lnTo>
                    <a:pt x="134" y="658"/>
                  </a:lnTo>
                  <a:lnTo>
                    <a:pt x="133" y="656"/>
                  </a:lnTo>
                  <a:lnTo>
                    <a:pt x="132" y="655"/>
                  </a:lnTo>
                  <a:lnTo>
                    <a:pt x="131" y="653"/>
                  </a:lnTo>
                  <a:lnTo>
                    <a:pt x="129" y="650"/>
                  </a:lnTo>
                  <a:lnTo>
                    <a:pt x="128" y="648"/>
                  </a:lnTo>
                  <a:lnTo>
                    <a:pt x="127" y="646"/>
                  </a:lnTo>
                  <a:lnTo>
                    <a:pt x="127" y="644"/>
                  </a:lnTo>
                  <a:lnTo>
                    <a:pt x="126" y="641"/>
                  </a:lnTo>
                  <a:lnTo>
                    <a:pt x="126" y="639"/>
                  </a:lnTo>
                  <a:lnTo>
                    <a:pt x="125" y="637"/>
                  </a:lnTo>
                  <a:lnTo>
                    <a:pt x="125" y="635"/>
                  </a:lnTo>
                  <a:lnTo>
                    <a:pt x="125" y="632"/>
                  </a:lnTo>
                  <a:lnTo>
                    <a:pt x="125" y="630"/>
                  </a:lnTo>
                  <a:lnTo>
                    <a:pt x="124" y="619"/>
                  </a:lnTo>
                  <a:lnTo>
                    <a:pt x="125" y="608"/>
                  </a:lnTo>
                  <a:lnTo>
                    <a:pt x="125" y="596"/>
                  </a:lnTo>
                  <a:lnTo>
                    <a:pt x="125" y="585"/>
                  </a:lnTo>
                  <a:lnTo>
                    <a:pt x="126" y="575"/>
                  </a:lnTo>
                  <a:lnTo>
                    <a:pt x="126" y="563"/>
                  </a:lnTo>
                  <a:lnTo>
                    <a:pt x="127" y="553"/>
                  </a:lnTo>
                  <a:lnTo>
                    <a:pt x="128" y="542"/>
                  </a:lnTo>
                  <a:lnTo>
                    <a:pt x="129" y="532"/>
                  </a:lnTo>
                  <a:lnTo>
                    <a:pt x="132" y="522"/>
                  </a:lnTo>
                  <a:lnTo>
                    <a:pt x="133" y="512"/>
                  </a:lnTo>
                  <a:lnTo>
                    <a:pt x="135" y="501"/>
                  </a:lnTo>
                  <a:lnTo>
                    <a:pt x="137" y="492"/>
                  </a:lnTo>
                  <a:lnTo>
                    <a:pt x="139" y="482"/>
                  </a:lnTo>
                  <a:lnTo>
                    <a:pt x="142" y="472"/>
                  </a:lnTo>
                  <a:lnTo>
                    <a:pt x="144" y="463"/>
                  </a:lnTo>
                  <a:lnTo>
                    <a:pt x="146" y="453"/>
                  </a:lnTo>
                  <a:lnTo>
                    <a:pt x="150" y="444"/>
                  </a:lnTo>
                  <a:lnTo>
                    <a:pt x="153" y="435"/>
                  </a:lnTo>
                  <a:lnTo>
                    <a:pt x="157" y="426"/>
                  </a:lnTo>
                  <a:lnTo>
                    <a:pt x="160" y="417"/>
                  </a:lnTo>
                  <a:lnTo>
                    <a:pt x="163" y="408"/>
                  </a:lnTo>
                  <a:lnTo>
                    <a:pt x="167" y="399"/>
                  </a:lnTo>
                  <a:lnTo>
                    <a:pt x="171" y="390"/>
                  </a:lnTo>
                  <a:lnTo>
                    <a:pt x="175" y="382"/>
                  </a:lnTo>
                  <a:lnTo>
                    <a:pt x="179" y="373"/>
                  </a:lnTo>
                  <a:lnTo>
                    <a:pt x="184" y="365"/>
                  </a:lnTo>
                  <a:lnTo>
                    <a:pt x="188" y="356"/>
                  </a:lnTo>
                  <a:lnTo>
                    <a:pt x="194" y="348"/>
                  </a:lnTo>
                  <a:lnTo>
                    <a:pt x="198" y="340"/>
                  </a:lnTo>
                  <a:lnTo>
                    <a:pt x="204" y="332"/>
                  </a:lnTo>
                  <a:lnTo>
                    <a:pt x="210" y="324"/>
                  </a:lnTo>
                  <a:lnTo>
                    <a:pt x="215" y="316"/>
                  </a:lnTo>
                  <a:lnTo>
                    <a:pt x="221" y="309"/>
                  </a:lnTo>
                  <a:lnTo>
                    <a:pt x="227" y="301"/>
                  </a:lnTo>
                  <a:lnTo>
                    <a:pt x="232" y="295"/>
                  </a:lnTo>
                  <a:lnTo>
                    <a:pt x="239" y="287"/>
                  </a:lnTo>
                  <a:lnTo>
                    <a:pt x="245" y="280"/>
                  </a:lnTo>
                  <a:lnTo>
                    <a:pt x="251" y="273"/>
                  </a:lnTo>
                  <a:lnTo>
                    <a:pt x="258" y="266"/>
                  </a:lnTo>
                  <a:lnTo>
                    <a:pt x="265" y="260"/>
                  </a:lnTo>
                  <a:lnTo>
                    <a:pt x="272" y="253"/>
                  </a:lnTo>
                  <a:lnTo>
                    <a:pt x="280" y="246"/>
                  </a:lnTo>
                  <a:lnTo>
                    <a:pt x="288" y="240"/>
                  </a:lnTo>
                  <a:lnTo>
                    <a:pt x="294" y="234"/>
                  </a:lnTo>
                  <a:lnTo>
                    <a:pt x="302" y="228"/>
                  </a:lnTo>
                  <a:lnTo>
                    <a:pt x="310" y="222"/>
                  </a:lnTo>
                  <a:lnTo>
                    <a:pt x="318" y="216"/>
                  </a:lnTo>
                  <a:lnTo>
                    <a:pt x="327" y="210"/>
                  </a:lnTo>
                  <a:lnTo>
                    <a:pt x="335" y="204"/>
                  </a:lnTo>
                  <a:lnTo>
                    <a:pt x="344" y="200"/>
                  </a:lnTo>
                  <a:lnTo>
                    <a:pt x="353" y="194"/>
                  </a:lnTo>
                  <a:lnTo>
                    <a:pt x="362" y="189"/>
                  </a:lnTo>
                  <a:lnTo>
                    <a:pt x="371" y="184"/>
                  </a:lnTo>
                  <a:lnTo>
                    <a:pt x="380" y="178"/>
                  </a:lnTo>
                  <a:lnTo>
                    <a:pt x="389" y="174"/>
                  </a:lnTo>
                  <a:lnTo>
                    <a:pt x="399" y="169"/>
                  </a:lnTo>
                  <a:lnTo>
                    <a:pt x="408" y="165"/>
                  </a:lnTo>
                  <a:lnTo>
                    <a:pt x="419" y="160"/>
                  </a:lnTo>
                  <a:lnTo>
                    <a:pt x="429" y="156"/>
                  </a:lnTo>
                  <a:lnTo>
                    <a:pt x="439" y="151"/>
                  </a:lnTo>
                  <a:lnTo>
                    <a:pt x="450" y="148"/>
                  </a:lnTo>
                  <a:lnTo>
                    <a:pt x="460" y="143"/>
                  </a:lnTo>
                  <a:lnTo>
                    <a:pt x="472" y="140"/>
                  </a:lnTo>
                  <a:close/>
                  <a:moveTo>
                    <a:pt x="919" y="1713"/>
                  </a:moveTo>
                  <a:lnTo>
                    <a:pt x="919" y="1805"/>
                  </a:lnTo>
                  <a:lnTo>
                    <a:pt x="901" y="1802"/>
                  </a:lnTo>
                  <a:lnTo>
                    <a:pt x="883" y="1801"/>
                  </a:lnTo>
                  <a:lnTo>
                    <a:pt x="865" y="1800"/>
                  </a:lnTo>
                  <a:lnTo>
                    <a:pt x="847" y="1798"/>
                  </a:lnTo>
                  <a:lnTo>
                    <a:pt x="828" y="1796"/>
                  </a:lnTo>
                  <a:lnTo>
                    <a:pt x="812" y="1793"/>
                  </a:lnTo>
                  <a:lnTo>
                    <a:pt x="793" y="1791"/>
                  </a:lnTo>
                  <a:lnTo>
                    <a:pt x="775" y="1789"/>
                  </a:lnTo>
                  <a:lnTo>
                    <a:pt x="758" y="1785"/>
                  </a:lnTo>
                  <a:lnTo>
                    <a:pt x="742" y="1783"/>
                  </a:lnTo>
                  <a:lnTo>
                    <a:pt x="723" y="1780"/>
                  </a:lnTo>
                  <a:lnTo>
                    <a:pt x="707" y="1776"/>
                  </a:lnTo>
                  <a:lnTo>
                    <a:pt x="690" y="1772"/>
                  </a:lnTo>
                  <a:lnTo>
                    <a:pt x="673" y="1769"/>
                  </a:lnTo>
                  <a:lnTo>
                    <a:pt x="656" y="1764"/>
                  </a:lnTo>
                  <a:lnTo>
                    <a:pt x="639" y="1759"/>
                  </a:lnTo>
                  <a:lnTo>
                    <a:pt x="622" y="1755"/>
                  </a:lnTo>
                  <a:lnTo>
                    <a:pt x="605" y="1749"/>
                  </a:lnTo>
                  <a:lnTo>
                    <a:pt x="596" y="1747"/>
                  </a:lnTo>
                  <a:lnTo>
                    <a:pt x="587" y="1744"/>
                  </a:lnTo>
                  <a:lnTo>
                    <a:pt x="579" y="1741"/>
                  </a:lnTo>
                  <a:lnTo>
                    <a:pt x="570" y="1738"/>
                  </a:lnTo>
                  <a:lnTo>
                    <a:pt x="562" y="1735"/>
                  </a:lnTo>
                  <a:lnTo>
                    <a:pt x="554" y="1732"/>
                  </a:lnTo>
                  <a:lnTo>
                    <a:pt x="545" y="1729"/>
                  </a:lnTo>
                  <a:lnTo>
                    <a:pt x="537" y="1726"/>
                  </a:lnTo>
                  <a:lnTo>
                    <a:pt x="529" y="1722"/>
                  </a:lnTo>
                  <a:lnTo>
                    <a:pt x="520" y="1719"/>
                  </a:lnTo>
                  <a:lnTo>
                    <a:pt x="512" y="1715"/>
                  </a:lnTo>
                  <a:lnTo>
                    <a:pt x="504" y="1712"/>
                  </a:lnTo>
                  <a:lnTo>
                    <a:pt x="496" y="1708"/>
                  </a:lnTo>
                  <a:lnTo>
                    <a:pt x="489" y="1704"/>
                  </a:lnTo>
                  <a:lnTo>
                    <a:pt x="480" y="1701"/>
                  </a:lnTo>
                  <a:lnTo>
                    <a:pt x="472" y="1696"/>
                  </a:lnTo>
                  <a:lnTo>
                    <a:pt x="464" y="1693"/>
                  </a:lnTo>
                  <a:lnTo>
                    <a:pt x="456" y="1688"/>
                  </a:lnTo>
                  <a:lnTo>
                    <a:pt x="448" y="1684"/>
                  </a:lnTo>
                  <a:lnTo>
                    <a:pt x="441" y="1680"/>
                  </a:lnTo>
                  <a:lnTo>
                    <a:pt x="433" y="1676"/>
                  </a:lnTo>
                  <a:lnTo>
                    <a:pt x="425" y="1671"/>
                  </a:lnTo>
                  <a:lnTo>
                    <a:pt x="417" y="1667"/>
                  </a:lnTo>
                  <a:lnTo>
                    <a:pt x="410" y="1662"/>
                  </a:lnTo>
                  <a:lnTo>
                    <a:pt x="403" y="1658"/>
                  </a:lnTo>
                  <a:lnTo>
                    <a:pt x="395" y="1653"/>
                  </a:lnTo>
                  <a:lnTo>
                    <a:pt x="387" y="1648"/>
                  </a:lnTo>
                  <a:lnTo>
                    <a:pt x="380" y="1643"/>
                  </a:lnTo>
                  <a:lnTo>
                    <a:pt x="380" y="1562"/>
                  </a:lnTo>
                  <a:lnTo>
                    <a:pt x="387" y="1566"/>
                  </a:lnTo>
                  <a:lnTo>
                    <a:pt x="394" y="1570"/>
                  </a:lnTo>
                  <a:lnTo>
                    <a:pt x="402" y="1574"/>
                  </a:lnTo>
                  <a:lnTo>
                    <a:pt x="408" y="1579"/>
                  </a:lnTo>
                  <a:lnTo>
                    <a:pt x="416" y="1582"/>
                  </a:lnTo>
                  <a:lnTo>
                    <a:pt x="423" y="1587"/>
                  </a:lnTo>
                  <a:lnTo>
                    <a:pt x="431" y="1590"/>
                  </a:lnTo>
                  <a:lnTo>
                    <a:pt x="438" y="1595"/>
                  </a:lnTo>
                  <a:lnTo>
                    <a:pt x="454" y="1602"/>
                  </a:lnTo>
                  <a:lnTo>
                    <a:pt x="468" y="1609"/>
                  </a:lnTo>
                  <a:lnTo>
                    <a:pt x="484" y="1616"/>
                  </a:lnTo>
                  <a:lnTo>
                    <a:pt x="499" y="1623"/>
                  </a:lnTo>
                  <a:lnTo>
                    <a:pt x="515" y="1630"/>
                  </a:lnTo>
                  <a:lnTo>
                    <a:pt x="530" y="1635"/>
                  </a:lnTo>
                  <a:lnTo>
                    <a:pt x="546" y="1641"/>
                  </a:lnTo>
                  <a:lnTo>
                    <a:pt x="562" y="1647"/>
                  </a:lnTo>
                  <a:lnTo>
                    <a:pt x="578" y="1652"/>
                  </a:lnTo>
                  <a:lnTo>
                    <a:pt x="594" y="1658"/>
                  </a:lnTo>
                  <a:lnTo>
                    <a:pt x="609" y="1662"/>
                  </a:lnTo>
                  <a:lnTo>
                    <a:pt x="626" y="1667"/>
                  </a:lnTo>
                  <a:lnTo>
                    <a:pt x="643" y="1671"/>
                  </a:lnTo>
                  <a:lnTo>
                    <a:pt x="661" y="1676"/>
                  </a:lnTo>
                  <a:lnTo>
                    <a:pt x="679" y="1680"/>
                  </a:lnTo>
                  <a:lnTo>
                    <a:pt x="697" y="1684"/>
                  </a:lnTo>
                  <a:lnTo>
                    <a:pt x="716" y="1688"/>
                  </a:lnTo>
                  <a:lnTo>
                    <a:pt x="734" y="1692"/>
                  </a:lnTo>
                  <a:lnTo>
                    <a:pt x="752" y="1695"/>
                  </a:lnTo>
                  <a:lnTo>
                    <a:pt x="770" y="1697"/>
                  </a:lnTo>
                  <a:lnTo>
                    <a:pt x="788" y="1701"/>
                  </a:lnTo>
                  <a:lnTo>
                    <a:pt x="807" y="1703"/>
                  </a:lnTo>
                  <a:lnTo>
                    <a:pt x="825" y="1705"/>
                  </a:lnTo>
                  <a:lnTo>
                    <a:pt x="843" y="1708"/>
                  </a:lnTo>
                  <a:lnTo>
                    <a:pt x="862" y="1709"/>
                  </a:lnTo>
                  <a:lnTo>
                    <a:pt x="880" y="1711"/>
                  </a:lnTo>
                  <a:lnTo>
                    <a:pt x="900" y="1712"/>
                  </a:lnTo>
                  <a:lnTo>
                    <a:pt x="919" y="1713"/>
                  </a:lnTo>
                  <a:close/>
                  <a:moveTo>
                    <a:pt x="919" y="1852"/>
                  </a:moveTo>
                  <a:lnTo>
                    <a:pt x="919" y="1901"/>
                  </a:lnTo>
                  <a:lnTo>
                    <a:pt x="919" y="1906"/>
                  </a:lnTo>
                  <a:lnTo>
                    <a:pt x="919" y="1911"/>
                  </a:lnTo>
                  <a:lnTo>
                    <a:pt x="918" y="1916"/>
                  </a:lnTo>
                  <a:lnTo>
                    <a:pt x="918" y="1922"/>
                  </a:lnTo>
                  <a:lnTo>
                    <a:pt x="917" y="1927"/>
                  </a:lnTo>
                  <a:lnTo>
                    <a:pt x="915" y="1932"/>
                  </a:lnTo>
                  <a:lnTo>
                    <a:pt x="914" y="1937"/>
                  </a:lnTo>
                  <a:lnTo>
                    <a:pt x="913" y="1942"/>
                  </a:lnTo>
                  <a:lnTo>
                    <a:pt x="896" y="1941"/>
                  </a:lnTo>
                  <a:lnTo>
                    <a:pt x="878" y="1939"/>
                  </a:lnTo>
                  <a:lnTo>
                    <a:pt x="860" y="1938"/>
                  </a:lnTo>
                  <a:lnTo>
                    <a:pt x="843" y="1936"/>
                  </a:lnTo>
                  <a:lnTo>
                    <a:pt x="825" y="1935"/>
                  </a:lnTo>
                  <a:lnTo>
                    <a:pt x="808" y="1932"/>
                  </a:lnTo>
                  <a:lnTo>
                    <a:pt x="791" y="1929"/>
                  </a:lnTo>
                  <a:lnTo>
                    <a:pt x="773" y="1927"/>
                  </a:lnTo>
                  <a:lnTo>
                    <a:pt x="756" y="1924"/>
                  </a:lnTo>
                  <a:lnTo>
                    <a:pt x="739" y="1921"/>
                  </a:lnTo>
                  <a:lnTo>
                    <a:pt x="722" y="1918"/>
                  </a:lnTo>
                  <a:lnTo>
                    <a:pt x="705" y="1914"/>
                  </a:lnTo>
                  <a:lnTo>
                    <a:pt x="688" y="1911"/>
                  </a:lnTo>
                  <a:lnTo>
                    <a:pt x="672" y="1906"/>
                  </a:lnTo>
                  <a:lnTo>
                    <a:pt x="656" y="1903"/>
                  </a:lnTo>
                  <a:lnTo>
                    <a:pt x="639" y="1898"/>
                  </a:lnTo>
                  <a:lnTo>
                    <a:pt x="622" y="1893"/>
                  </a:lnTo>
                  <a:lnTo>
                    <a:pt x="605" y="1888"/>
                  </a:lnTo>
                  <a:lnTo>
                    <a:pt x="596" y="1885"/>
                  </a:lnTo>
                  <a:lnTo>
                    <a:pt x="587" y="1883"/>
                  </a:lnTo>
                  <a:lnTo>
                    <a:pt x="579" y="1879"/>
                  </a:lnTo>
                  <a:lnTo>
                    <a:pt x="570" y="1877"/>
                  </a:lnTo>
                  <a:lnTo>
                    <a:pt x="562" y="1874"/>
                  </a:lnTo>
                  <a:lnTo>
                    <a:pt x="554" y="1870"/>
                  </a:lnTo>
                  <a:lnTo>
                    <a:pt x="545" y="1867"/>
                  </a:lnTo>
                  <a:lnTo>
                    <a:pt x="537" y="1863"/>
                  </a:lnTo>
                  <a:lnTo>
                    <a:pt x="529" y="1861"/>
                  </a:lnTo>
                  <a:lnTo>
                    <a:pt x="520" y="1858"/>
                  </a:lnTo>
                  <a:lnTo>
                    <a:pt x="512" y="1854"/>
                  </a:lnTo>
                  <a:lnTo>
                    <a:pt x="504" y="1850"/>
                  </a:lnTo>
                  <a:lnTo>
                    <a:pt x="496" y="1846"/>
                  </a:lnTo>
                  <a:lnTo>
                    <a:pt x="489" y="1843"/>
                  </a:lnTo>
                  <a:lnTo>
                    <a:pt x="480" y="1839"/>
                  </a:lnTo>
                  <a:lnTo>
                    <a:pt x="472" y="1835"/>
                  </a:lnTo>
                  <a:lnTo>
                    <a:pt x="464" y="1831"/>
                  </a:lnTo>
                  <a:lnTo>
                    <a:pt x="456" y="1827"/>
                  </a:lnTo>
                  <a:lnTo>
                    <a:pt x="448" y="1823"/>
                  </a:lnTo>
                  <a:lnTo>
                    <a:pt x="441" y="1818"/>
                  </a:lnTo>
                  <a:lnTo>
                    <a:pt x="433" y="1815"/>
                  </a:lnTo>
                  <a:lnTo>
                    <a:pt x="425" y="1810"/>
                  </a:lnTo>
                  <a:lnTo>
                    <a:pt x="417" y="1806"/>
                  </a:lnTo>
                  <a:lnTo>
                    <a:pt x="410" y="1801"/>
                  </a:lnTo>
                  <a:lnTo>
                    <a:pt x="403" y="1796"/>
                  </a:lnTo>
                  <a:lnTo>
                    <a:pt x="395" y="1791"/>
                  </a:lnTo>
                  <a:lnTo>
                    <a:pt x="387" y="1787"/>
                  </a:lnTo>
                  <a:lnTo>
                    <a:pt x="380" y="1782"/>
                  </a:lnTo>
                  <a:lnTo>
                    <a:pt x="380" y="1700"/>
                  </a:lnTo>
                  <a:lnTo>
                    <a:pt x="387" y="1704"/>
                  </a:lnTo>
                  <a:lnTo>
                    <a:pt x="394" y="1709"/>
                  </a:lnTo>
                  <a:lnTo>
                    <a:pt x="402" y="1713"/>
                  </a:lnTo>
                  <a:lnTo>
                    <a:pt x="408" y="1717"/>
                  </a:lnTo>
                  <a:lnTo>
                    <a:pt x="416" y="1721"/>
                  </a:lnTo>
                  <a:lnTo>
                    <a:pt x="423" y="1726"/>
                  </a:lnTo>
                  <a:lnTo>
                    <a:pt x="431" y="1729"/>
                  </a:lnTo>
                  <a:lnTo>
                    <a:pt x="438" y="1732"/>
                  </a:lnTo>
                  <a:lnTo>
                    <a:pt x="454" y="1740"/>
                  </a:lnTo>
                  <a:lnTo>
                    <a:pt x="468" y="1748"/>
                  </a:lnTo>
                  <a:lnTo>
                    <a:pt x="484" y="1755"/>
                  </a:lnTo>
                  <a:lnTo>
                    <a:pt x="499" y="1762"/>
                  </a:lnTo>
                  <a:lnTo>
                    <a:pt x="515" y="1767"/>
                  </a:lnTo>
                  <a:lnTo>
                    <a:pt x="530" y="1774"/>
                  </a:lnTo>
                  <a:lnTo>
                    <a:pt x="546" y="1780"/>
                  </a:lnTo>
                  <a:lnTo>
                    <a:pt x="562" y="1785"/>
                  </a:lnTo>
                  <a:lnTo>
                    <a:pt x="578" y="1791"/>
                  </a:lnTo>
                  <a:lnTo>
                    <a:pt x="594" y="1796"/>
                  </a:lnTo>
                  <a:lnTo>
                    <a:pt x="609" y="1801"/>
                  </a:lnTo>
                  <a:lnTo>
                    <a:pt x="626" y="1806"/>
                  </a:lnTo>
                  <a:lnTo>
                    <a:pt x="643" y="1810"/>
                  </a:lnTo>
                  <a:lnTo>
                    <a:pt x="661" y="1815"/>
                  </a:lnTo>
                  <a:lnTo>
                    <a:pt x="679" y="1819"/>
                  </a:lnTo>
                  <a:lnTo>
                    <a:pt x="697" y="1823"/>
                  </a:lnTo>
                  <a:lnTo>
                    <a:pt x="716" y="1826"/>
                  </a:lnTo>
                  <a:lnTo>
                    <a:pt x="734" y="1829"/>
                  </a:lnTo>
                  <a:lnTo>
                    <a:pt x="752" y="1833"/>
                  </a:lnTo>
                  <a:lnTo>
                    <a:pt x="770" y="1836"/>
                  </a:lnTo>
                  <a:lnTo>
                    <a:pt x="788" y="1839"/>
                  </a:lnTo>
                  <a:lnTo>
                    <a:pt x="807" y="1841"/>
                  </a:lnTo>
                  <a:lnTo>
                    <a:pt x="825" y="1843"/>
                  </a:lnTo>
                  <a:lnTo>
                    <a:pt x="843" y="1845"/>
                  </a:lnTo>
                  <a:lnTo>
                    <a:pt x="862" y="1848"/>
                  </a:lnTo>
                  <a:lnTo>
                    <a:pt x="880" y="1849"/>
                  </a:lnTo>
                  <a:lnTo>
                    <a:pt x="900" y="1851"/>
                  </a:lnTo>
                  <a:lnTo>
                    <a:pt x="919" y="1852"/>
                  </a:lnTo>
                  <a:close/>
                  <a:moveTo>
                    <a:pt x="894" y="1989"/>
                  </a:moveTo>
                  <a:lnTo>
                    <a:pt x="891" y="1996"/>
                  </a:lnTo>
                  <a:lnTo>
                    <a:pt x="886" y="2001"/>
                  </a:lnTo>
                  <a:lnTo>
                    <a:pt x="882" y="2008"/>
                  </a:lnTo>
                  <a:lnTo>
                    <a:pt x="877" y="2014"/>
                  </a:lnTo>
                  <a:lnTo>
                    <a:pt x="873" y="2019"/>
                  </a:lnTo>
                  <a:lnTo>
                    <a:pt x="867" y="2025"/>
                  </a:lnTo>
                  <a:lnTo>
                    <a:pt x="861" y="2031"/>
                  </a:lnTo>
                  <a:lnTo>
                    <a:pt x="856" y="2035"/>
                  </a:lnTo>
                  <a:lnTo>
                    <a:pt x="850" y="2041"/>
                  </a:lnTo>
                  <a:lnTo>
                    <a:pt x="843" y="2045"/>
                  </a:lnTo>
                  <a:lnTo>
                    <a:pt x="838" y="2050"/>
                  </a:lnTo>
                  <a:lnTo>
                    <a:pt x="831" y="2054"/>
                  </a:lnTo>
                  <a:lnTo>
                    <a:pt x="824" y="2059"/>
                  </a:lnTo>
                  <a:lnTo>
                    <a:pt x="817" y="2062"/>
                  </a:lnTo>
                  <a:lnTo>
                    <a:pt x="810" y="2067"/>
                  </a:lnTo>
                  <a:lnTo>
                    <a:pt x="804" y="2070"/>
                  </a:lnTo>
                  <a:lnTo>
                    <a:pt x="792" y="2068"/>
                  </a:lnTo>
                  <a:lnTo>
                    <a:pt x="782" y="2067"/>
                  </a:lnTo>
                  <a:lnTo>
                    <a:pt x="772" y="2066"/>
                  </a:lnTo>
                  <a:lnTo>
                    <a:pt x="761" y="2063"/>
                  </a:lnTo>
                  <a:lnTo>
                    <a:pt x="751" y="2062"/>
                  </a:lnTo>
                  <a:lnTo>
                    <a:pt x="740" y="2060"/>
                  </a:lnTo>
                  <a:lnTo>
                    <a:pt x="730" y="2058"/>
                  </a:lnTo>
                  <a:lnTo>
                    <a:pt x="720" y="2055"/>
                  </a:lnTo>
                  <a:lnTo>
                    <a:pt x="710" y="2054"/>
                  </a:lnTo>
                  <a:lnTo>
                    <a:pt x="700" y="2052"/>
                  </a:lnTo>
                  <a:lnTo>
                    <a:pt x="690" y="2050"/>
                  </a:lnTo>
                  <a:lnTo>
                    <a:pt x="679" y="2046"/>
                  </a:lnTo>
                  <a:lnTo>
                    <a:pt x="669" y="2044"/>
                  </a:lnTo>
                  <a:lnTo>
                    <a:pt x="659" y="2042"/>
                  </a:lnTo>
                  <a:lnTo>
                    <a:pt x="649" y="2040"/>
                  </a:lnTo>
                  <a:lnTo>
                    <a:pt x="639" y="2036"/>
                  </a:lnTo>
                  <a:lnTo>
                    <a:pt x="622" y="2032"/>
                  </a:lnTo>
                  <a:lnTo>
                    <a:pt x="605" y="2026"/>
                  </a:lnTo>
                  <a:lnTo>
                    <a:pt x="596" y="2024"/>
                  </a:lnTo>
                  <a:lnTo>
                    <a:pt x="588" y="2020"/>
                  </a:lnTo>
                  <a:lnTo>
                    <a:pt x="579" y="2018"/>
                  </a:lnTo>
                  <a:lnTo>
                    <a:pt x="571" y="2015"/>
                  </a:lnTo>
                  <a:lnTo>
                    <a:pt x="562" y="2012"/>
                  </a:lnTo>
                  <a:lnTo>
                    <a:pt x="554" y="2009"/>
                  </a:lnTo>
                  <a:lnTo>
                    <a:pt x="546" y="2006"/>
                  </a:lnTo>
                  <a:lnTo>
                    <a:pt x="537" y="2002"/>
                  </a:lnTo>
                  <a:lnTo>
                    <a:pt x="529" y="1999"/>
                  </a:lnTo>
                  <a:lnTo>
                    <a:pt x="521" y="1996"/>
                  </a:lnTo>
                  <a:lnTo>
                    <a:pt x="513" y="1992"/>
                  </a:lnTo>
                  <a:lnTo>
                    <a:pt x="504" y="1989"/>
                  </a:lnTo>
                  <a:lnTo>
                    <a:pt x="496" y="1985"/>
                  </a:lnTo>
                  <a:lnTo>
                    <a:pt x="489" y="1982"/>
                  </a:lnTo>
                  <a:lnTo>
                    <a:pt x="481" y="1977"/>
                  </a:lnTo>
                  <a:lnTo>
                    <a:pt x="473" y="1974"/>
                  </a:lnTo>
                  <a:lnTo>
                    <a:pt x="465" y="1970"/>
                  </a:lnTo>
                  <a:lnTo>
                    <a:pt x="457" y="1966"/>
                  </a:lnTo>
                  <a:lnTo>
                    <a:pt x="449" y="1962"/>
                  </a:lnTo>
                  <a:lnTo>
                    <a:pt x="441" y="1958"/>
                  </a:lnTo>
                  <a:lnTo>
                    <a:pt x="433" y="1954"/>
                  </a:lnTo>
                  <a:lnTo>
                    <a:pt x="426" y="1949"/>
                  </a:lnTo>
                  <a:lnTo>
                    <a:pt x="419" y="1945"/>
                  </a:lnTo>
                  <a:lnTo>
                    <a:pt x="411" y="1940"/>
                  </a:lnTo>
                  <a:lnTo>
                    <a:pt x="404" y="1936"/>
                  </a:lnTo>
                  <a:lnTo>
                    <a:pt x="396" y="1931"/>
                  </a:lnTo>
                  <a:lnTo>
                    <a:pt x="388" y="1925"/>
                  </a:lnTo>
                  <a:lnTo>
                    <a:pt x="381" y="1921"/>
                  </a:lnTo>
                  <a:lnTo>
                    <a:pt x="380" y="1916"/>
                  </a:lnTo>
                  <a:lnTo>
                    <a:pt x="380" y="1911"/>
                  </a:lnTo>
                  <a:lnTo>
                    <a:pt x="380" y="1905"/>
                  </a:lnTo>
                  <a:lnTo>
                    <a:pt x="380" y="1901"/>
                  </a:lnTo>
                  <a:lnTo>
                    <a:pt x="380" y="1839"/>
                  </a:lnTo>
                  <a:lnTo>
                    <a:pt x="387" y="1843"/>
                  </a:lnTo>
                  <a:lnTo>
                    <a:pt x="394" y="1848"/>
                  </a:lnTo>
                  <a:lnTo>
                    <a:pt x="402" y="1851"/>
                  </a:lnTo>
                  <a:lnTo>
                    <a:pt x="408" y="1855"/>
                  </a:lnTo>
                  <a:lnTo>
                    <a:pt x="416" y="1860"/>
                  </a:lnTo>
                  <a:lnTo>
                    <a:pt x="423" y="1863"/>
                  </a:lnTo>
                  <a:lnTo>
                    <a:pt x="431" y="1868"/>
                  </a:lnTo>
                  <a:lnTo>
                    <a:pt x="438" y="1871"/>
                  </a:lnTo>
                  <a:lnTo>
                    <a:pt x="454" y="1879"/>
                  </a:lnTo>
                  <a:lnTo>
                    <a:pt x="468" y="1886"/>
                  </a:lnTo>
                  <a:lnTo>
                    <a:pt x="484" y="1893"/>
                  </a:lnTo>
                  <a:lnTo>
                    <a:pt x="499" y="1900"/>
                  </a:lnTo>
                  <a:lnTo>
                    <a:pt x="515" y="1906"/>
                  </a:lnTo>
                  <a:lnTo>
                    <a:pt x="530" y="1912"/>
                  </a:lnTo>
                  <a:lnTo>
                    <a:pt x="546" y="1919"/>
                  </a:lnTo>
                  <a:lnTo>
                    <a:pt x="562" y="1924"/>
                  </a:lnTo>
                  <a:lnTo>
                    <a:pt x="578" y="1929"/>
                  </a:lnTo>
                  <a:lnTo>
                    <a:pt x="594" y="1935"/>
                  </a:lnTo>
                  <a:lnTo>
                    <a:pt x="609" y="1939"/>
                  </a:lnTo>
                  <a:lnTo>
                    <a:pt x="626" y="1945"/>
                  </a:lnTo>
                  <a:lnTo>
                    <a:pt x="642" y="1948"/>
                  </a:lnTo>
                  <a:lnTo>
                    <a:pt x="659" y="1953"/>
                  </a:lnTo>
                  <a:lnTo>
                    <a:pt x="675" y="1956"/>
                  </a:lnTo>
                  <a:lnTo>
                    <a:pt x="692" y="1961"/>
                  </a:lnTo>
                  <a:lnTo>
                    <a:pt x="708" y="1964"/>
                  </a:lnTo>
                  <a:lnTo>
                    <a:pt x="725" y="1967"/>
                  </a:lnTo>
                  <a:lnTo>
                    <a:pt x="742" y="1970"/>
                  </a:lnTo>
                  <a:lnTo>
                    <a:pt x="757" y="1973"/>
                  </a:lnTo>
                  <a:lnTo>
                    <a:pt x="774" y="1975"/>
                  </a:lnTo>
                  <a:lnTo>
                    <a:pt x="791" y="1977"/>
                  </a:lnTo>
                  <a:lnTo>
                    <a:pt x="808" y="1980"/>
                  </a:lnTo>
                  <a:lnTo>
                    <a:pt x="825" y="1982"/>
                  </a:lnTo>
                  <a:lnTo>
                    <a:pt x="842" y="1984"/>
                  </a:lnTo>
                  <a:lnTo>
                    <a:pt x="860" y="1985"/>
                  </a:lnTo>
                  <a:lnTo>
                    <a:pt x="877" y="1988"/>
                  </a:lnTo>
                  <a:lnTo>
                    <a:pt x="894" y="1989"/>
                  </a:lnTo>
                  <a:close/>
                  <a:moveTo>
                    <a:pt x="662" y="2092"/>
                  </a:moveTo>
                  <a:lnTo>
                    <a:pt x="597" y="2092"/>
                  </a:lnTo>
                  <a:lnTo>
                    <a:pt x="589" y="2092"/>
                  </a:lnTo>
                  <a:lnTo>
                    <a:pt x="581" y="2092"/>
                  </a:lnTo>
                  <a:lnTo>
                    <a:pt x="574" y="2092"/>
                  </a:lnTo>
                  <a:lnTo>
                    <a:pt x="567" y="2090"/>
                  </a:lnTo>
                  <a:lnTo>
                    <a:pt x="560" y="2089"/>
                  </a:lnTo>
                  <a:lnTo>
                    <a:pt x="552" y="2088"/>
                  </a:lnTo>
                  <a:lnTo>
                    <a:pt x="545" y="2086"/>
                  </a:lnTo>
                  <a:lnTo>
                    <a:pt x="538" y="2085"/>
                  </a:lnTo>
                  <a:lnTo>
                    <a:pt x="530" y="2082"/>
                  </a:lnTo>
                  <a:lnTo>
                    <a:pt x="524" y="2081"/>
                  </a:lnTo>
                  <a:lnTo>
                    <a:pt x="517" y="2079"/>
                  </a:lnTo>
                  <a:lnTo>
                    <a:pt x="511" y="2076"/>
                  </a:lnTo>
                  <a:lnTo>
                    <a:pt x="504" y="2073"/>
                  </a:lnTo>
                  <a:lnTo>
                    <a:pt x="498" y="2071"/>
                  </a:lnTo>
                  <a:lnTo>
                    <a:pt x="491" y="2068"/>
                  </a:lnTo>
                  <a:lnTo>
                    <a:pt x="485" y="2064"/>
                  </a:lnTo>
                  <a:lnTo>
                    <a:pt x="480" y="2061"/>
                  </a:lnTo>
                  <a:lnTo>
                    <a:pt x="473" y="2058"/>
                  </a:lnTo>
                  <a:lnTo>
                    <a:pt x="467" y="2054"/>
                  </a:lnTo>
                  <a:lnTo>
                    <a:pt x="461" y="2050"/>
                  </a:lnTo>
                  <a:lnTo>
                    <a:pt x="456" y="2046"/>
                  </a:lnTo>
                  <a:lnTo>
                    <a:pt x="451" y="2042"/>
                  </a:lnTo>
                  <a:lnTo>
                    <a:pt x="446" y="2037"/>
                  </a:lnTo>
                  <a:lnTo>
                    <a:pt x="441" y="2033"/>
                  </a:lnTo>
                  <a:lnTo>
                    <a:pt x="436" y="2028"/>
                  </a:lnTo>
                  <a:lnTo>
                    <a:pt x="431" y="2024"/>
                  </a:lnTo>
                  <a:lnTo>
                    <a:pt x="426" y="2019"/>
                  </a:lnTo>
                  <a:lnTo>
                    <a:pt x="422" y="2014"/>
                  </a:lnTo>
                  <a:lnTo>
                    <a:pt x="419" y="2009"/>
                  </a:lnTo>
                  <a:lnTo>
                    <a:pt x="414" y="2003"/>
                  </a:lnTo>
                  <a:lnTo>
                    <a:pt x="411" y="1999"/>
                  </a:lnTo>
                  <a:lnTo>
                    <a:pt x="407" y="1993"/>
                  </a:lnTo>
                  <a:lnTo>
                    <a:pt x="420" y="2000"/>
                  </a:lnTo>
                  <a:lnTo>
                    <a:pt x="433" y="2007"/>
                  </a:lnTo>
                  <a:lnTo>
                    <a:pt x="446" y="2014"/>
                  </a:lnTo>
                  <a:lnTo>
                    <a:pt x="459" y="2020"/>
                  </a:lnTo>
                  <a:lnTo>
                    <a:pt x="473" y="2027"/>
                  </a:lnTo>
                  <a:lnTo>
                    <a:pt x="486" y="2033"/>
                  </a:lnTo>
                  <a:lnTo>
                    <a:pt x="500" y="2038"/>
                  </a:lnTo>
                  <a:lnTo>
                    <a:pt x="513" y="2044"/>
                  </a:lnTo>
                  <a:lnTo>
                    <a:pt x="527" y="2050"/>
                  </a:lnTo>
                  <a:lnTo>
                    <a:pt x="541" y="2055"/>
                  </a:lnTo>
                  <a:lnTo>
                    <a:pt x="555" y="2060"/>
                  </a:lnTo>
                  <a:lnTo>
                    <a:pt x="569" y="2066"/>
                  </a:lnTo>
                  <a:lnTo>
                    <a:pt x="583" y="2070"/>
                  </a:lnTo>
                  <a:lnTo>
                    <a:pt x="597" y="2075"/>
                  </a:lnTo>
                  <a:lnTo>
                    <a:pt x="612" y="2078"/>
                  </a:lnTo>
                  <a:lnTo>
                    <a:pt x="626" y="2082"/>
                  </a:lnTo>
                  <a:lnTo>
                    <a:pt x="631" y="2084"/>
                  </a:lnTo>
                  <a:lnTo>
                    <a:pt x="635" y="2085"/>
                  </a:lnTo>
                  <a:lnTo>
                    <a:pt x="640" y="2086"/>
                  </a:lnTo>
                  <a:lnTo>
                    <a:pt x="644" y="2087"/>
                  </a:lnTo>
                  <a:lnTo>
                    <a:pt x="649" y="2088"/>
                  </a:lnTo>
                  <a:lnTo>
                    <a:pt x="653" y="2089"/>
                  </a:lnTo>
                  <a:lnTo>
                    <a:pt x="658" y="2090"/>
                  </a:lnTo>
                  <a:lnTo>
                    <a:pt x="662" y="20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1346060" y="4648200"/>
            <a:ext cx="2040345" cy="9079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TARGET</a:t>
            </a:r>
            <a:endParaRPr lang="en-US" sz="1200" dirty="0"/>
          </a:p>
          <a:p>
            <a:pPr algn="ctr"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  <a:endParaRPr lang="en-US" sz="1200" dirty="0"/>
          </a:p>
        </p:txBody>
      </p:sp>
      <p:sp>
        <p:nvSpPr>
          <p:cNvPr id="96" name="TextBox 95"/>
          <p:cNvSpPr txBox="1"/>
          <p:nvPr/>
        </p:nvSpPr>
        <p:spPr>
          <a:xfrm>
            <a:off x="3552231" y="4648200"/>
            <a:ext cx="2040345" cy="9079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RESOURCE</a:t>
            </a:r>
            <a:endParaRPr lang="en-US" sz="1200" dirty="0"/>
          </a:p>
          <a:p>
            <a:pPr algn="ctr"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  <a:endParaRPr lang="en-US" sz="1200" dirty="0"/>
          </a:p>
        </p:txBody>
      </p:sp>
      <p:sp>
        <p:nvSpPr>
          <p:cNvPr id="97" name="TextBox 96"/>
          <p:cNvSpPr txBox="1"/>
          <p:nvPr/>
        </p:nvSpPr>
        <p:spPr>
          <a:xfrm>
            <a:off x="5770698" y="4648200"/>
            <a:ext cx="2040345" cy="90794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smtClean="0"/>
              <a:t>INNOVATION</a:t>
            </a:r>
            <a:endParaRPr lang="en-US" sz="1200" dirty="0"/>
          </a:p>
          <a:p>
            <a:pPr algn="ctr"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  <a:endParaRPr lang="en-US" sz="1200" dirty="0"/>
          </a:p>
        </p:txBody>
      </p:sp>
      <p:sp>
        <p:nvSpPr>
          <p:cNvPr id="98" name="Moon 97"/>
          <p:cNvSpPr/>
          <p:nvPr/>
        </p:nvSpPr>
        <p:spPr>
          <a:xfrm rot="16200000">
            <a:off x="4170511" y="2094717"/>
            <a:ext cx="824342" cy="1600200"/>
          </a:xfrm>
          <a:prstGeom prst="moon">
            <a:avLst>
              <a:gd name="adj" fmla="val 15625"/>
            </a:avLst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69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7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627172" y="1748069"/>
            <a:ext cx="3810000" cy="3810000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latin typeface="+mj-lt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71146" y="2569402"/>
            <a:ext cx="3591228" cy="2358548"/>
            <a:chOff x="200025" y="533400"/>
            <a:chExt cx="8593138" cy="5643563"/>
          </a:xfrm>
          <a:solidFill>
            <a:srgbClr val="0D65AC"/>
          </a:solidFill>
        </p:grpSpPr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7088188" y="3467100"/>
              <a:ext cx="257175" cy="255588"/>
            </a:xfrm>
            <a:custGeom>
              <a:avLst/>
              <a:gdLst>
                <a:gd name="T0" fmla="*/ 350 w 485"/>
                <a:gd name="T1" fmla="*/ 7 h 484"/>
                <a:gd name="T2" fmla="*/ 310 w 485"/>
                <a:gd name="T3" fmla="*/ 155 h 484"/>
                <a:gd name="T4" fmla="*/ 95 w 485"/>
                <a:gd name="T5" fmla="*/ 228 h 484"/>
                <a:gd name="T6" fmla="*/ 31 w 485"/>
                <a:gd name="T7" fmla="*/ 153 h 484"/>
                <a:gd name="T8" fmla="*/ 0 w 485"/>
                <a:gd name="T9" fmla="*/ 161 h 484"/>
                <a:gd name="T10" fmla="*/ 58 w 485"/>
                <a:gd name="T11" fmla="*/ 385 h 484"/>
                <a:gd name="T12" fmla="*/ 146 w 485"/>
                <a:gd name="T13" fmla="*/ 396 h 484"/>
                <a:gd name="T14" fmla="*/ 261 w 485"/>
                <a:gd name="T15" fmla="*/ 439 h 484"/>
                <a:gd name="T16" fmla="*/ 261 w 485"/>
                <a:gd name="T17" fmla="*/ 484 h 484"/>
                <a:gd name="T18" fmla="*/ 315 w 485"/>
                <a:gd name="T19" fmla="*/ 474 h 484"/>
                <a:gd name="T20" fmla="*/ 392 w 485"/>
                <a:gd name="T21" fmla="*/ 366 h 484"/>
                <a:gd name="T22" fmla="*/ 392 w 485"/>
                <a:gd name="T23" fmla="*/ 279 h 484"/>
                <a:gd name="T24" fmla="*/ 436 w 485"/>
                <a:gd name="T25" fmla="*/ 190 h 484"/>
                <a:gd name="T26" fmla="*/ 485 w 485"/>
                <a:gd name="T27" fmla="*/ 201 h 484"/>
                <a:gd name="T28" fmla="*/ 426 w 485"/>
                <a:gd name="T29" fmla="*/ 79 h 484"/>
                <a:gd name="T30" fmla="*/ 418 w 485"/>
                <a:gd name="T31" fmla="*/ 0 h 484"/>
                <a:gd name="T32" fmla="*/ 350 w 485"/>
                <a:gd name="T33" fmla="*/ 7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5" h="484">
                  <a:moveTo>
                    <a:pt x="350" y="7"/>
                  </a:moveTo>
                  <a:lnTo>
                    <a:pt x="310" y="155"/>
                  </a:lnTo>
                  <a:lnTo>
                    <a:pt x="95" y="228"/>
                  </a:lnTo>
                  <a:lnTo>
                    <a:pt x="31" y="153"/>
                  </a:lnTo>
                  <a:lnTo>
                    <a:pt x="0" y="161"/>
                  </a:lnTo>
                  <a:lnTo>
                    <a:pt x="58" y="385"/>
                  </a:lnTo>
                  <a:lnTo>
                    <a:pt x="146" y="396"/>
                  </a:lnTo>
                  <a:lnTo>
                    <a:pt x="261" y="439"/>
                  </a:lnTo>
                  <a:lnTo>
                    <a:pt x="261" y="484"/>
                  </a:lnTo>
                  <a:lnTo>
                    <a:pt x="315" y="474"/>
                  </a:lnTo>
                  <a:lnTo>
                    <a:pt x="392" y="366"/>
                  </a:lnTo>
                  <a:lnTo>
                    <a:pt x="392" y="279"/>
                  </a:lnTo>
                  <a:lnTo>
                    <a:pt x="436" y="190"/>
                  </a:lnTo>
                  <a:lnTo>
                    <a:pt x="485" y="201"/>
                  </a:lnTo>
                  <a:lnTo>
                    <a:pt x="426" y="79"/>
                  </a:lnTo>
                  <a:lnTo>
                    <a:pt x="418" y="0"/>
                  </a:lnTo>
                  <a:lnTo>
                    <a:pt x="35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7913688" y="3687763"/>
              <a:ext cx="230188" cy="292100"/>
            </a:xfrm>
            <a:custGeom>
              <a:avLst/>
              <a:gdLst>
                <a:gd name="T0" fmla="*/ 6 w 434"/>
                <a:gd name="T1" fmla="*/ 0 h 554"/>
                <a:gd name="T2" fmla="*/ 0 w 434"/>
                <a:gd name="T3" fmla="*/ 418 h 554"/>
                <a:gd name="T4" fmla="*/ 59 w 434"/>
                <a:gd name="T5" fmla="*/ 415 h 554"/>
                <a:gd name="T6" fmla="*/ 139 w 434"/>
                <a:gd name="T7" fmla="*/ 323 h 554"/>
                <a:gd name="T8" fmla="*/ 206 w 434"/>
                <a:gd name="T9" fmla="*/ 326 h 554"/>
                <a:gd name="T10" fmla="*/ 248 w 434"/>
                <a:gd name="T11" fmla="*/ 364 h 554"/>
                <a:gd name="T12" fmla="*/ 262 w 434"/>
                <a:gd name="T13" fmla="*/ 482 h 554"/>
                <a:gd name="T14" fmla="*/ 398 w 434"/>
                <a:gd name="T15" fmla="*/ 554 h 554"/>
                <a:gd name="T16" fmla="*/ 434 w 434"/>
                <a:gd name="T17" fmla="*/ 542 h 554"/>
                <a:gd name="T18" fmla="*/ 434 w 434"/>
                <a:gd name="T19" fmla="*/ 498 h 554"/>
                <a:gd name="T20" fmla="*/ 324 w 434"/>
                <a:gd name="T21" fmla="*/ 407 h 554"/>
                <a:gd name="T22" fmla="*/ 271 w 434"/>
                <a:gd name="T23" fmla="*/ 283 h 554"/>
                <a:gd name="T24" fmla="*/ 313 w 434"/>
                <a:gd name="T25" fmla="*/ 262 h 554"/>
                <a:gd name="T26" fmla="*/ 282 w 434"/>
                <a:gd name="T27" fmla="*/ 193 h 554"/>
                <a:gd name="T28" fmla="*/ 218 w 434"/>
                <a:gd name="T29" fmla="*/ 192 h 554"/>
                <a:gd name="T30" fmla="*/ 203 w 434"/>
                <a:gd name="T31" fmla="*/ 119 h 554"/>
                <a:gd name="T32" fmla="*/ 34 w 434"/>
                <a:gd name="T33" fmla="*/ 5 h 554"/>
                <a:gd name="T34" fmla="*/ 6 w 434"/>
                <a:gd name="T3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4" h="554">
                  <a:moveTo>
                    <a:pt x="6" y="0"/>
                  </a:moveTo>
                  <a:lnTo>
                    <a:pt x="0" y="418"/>
                  </a:lnTo>
                  <a:lnTo>
                    <a:pt x="59" y="415"/>
                  </a:lnTo>
                  <a:lnTo>
                    <a:pt x="139" y="323"/>
                  </a:lnTo>
                  <a:lnTo>
                    <a:pt x="206" y="326"/>
                  </a:lnTo>
                  <a:lnTo>
                    <a:pt x="248" y="364"/>
                  </a:lnTo>
                  <a:lnTo>
                    <a:pt x="262" y="482"/>
                  </a:lnTo>
                  <a:lnTo>
                    <a:pt x="398" y="554"/>
                  </a:lnTo>
                  <a:lnTo>
                    <a:pt x="434" y="542"/>
                  </a:lnTo>
                  <a:lnTo>
                    <a:pt x="434" y="498"/>
                  </a:lnTo>
                  <a:lnTo>
                    <a:pt x="324" y="407"/>
                  </a:lnTo>
                  <a:lnTo>
                    <a:pt x="271" y="283"/>
                  </a:lnTo>
                  <a:lnTo>
                    <a:pt x="313" y="262"/>
                  </a:lnTo>
                  <a:lnTo>
                    <a:pt x="282" y="193"/>
                  </a:lnTo>
                  <a:lnTo>
                    <a:pt x="218" y="192"/>
                  </a:lnTo>
                  <a:lnTo>
                    <a:pt x="203" y="119"/>
                  </a:lnTo>
                  <a:lnTo>
                    <a:pt x="34" y="5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1435100" y="2570163"/>
              <a:ext cx="690563" cy="598488"/>
            </a:xfrm>
            <a:custGeom>
              <a:avLst/>
              <a:gdLst>
                <a:gd name="T0" fmla="*/ 0 w 1304"/>
                <a:gd name="T1" fmla="*/ 6 h 1130"/>
                <a:gd name="T2" fmla="*/ 84 w 1304"/>
                <a:gd name="T3" fmla="*/ 267 h 1130"/>
                <a:gd name="T4" fmla="*/ 45 w 1304"/>
                <a:gd name="T5" fmla="*/ 289 h 1130"/>
                <a:gd name="T6" fmla="*/ 49 w 1304"/>
                <a:gd name="T7" fmla="*/ 340 h 1130"/>
                <a:gd name="T8" fmla="*/ 122 w 1304"/>
                <a:gd name="T9" fmla="*/ 396 h 1130"/>
                <a:gd name="T10" fmla="*/ 122 w 1304"/>
                <a:gd name="T11" fmla="*/ 500 h 1130"/>
                <a:gd name="T12" fmla="*/ 211 w 1304"/>
                <a:gd name="T13" fmla="*/ 586 h 1130"/>
                <a:gd name="T14" fmla="*/ 173 w 1304"/>
                <a:gd name="T15" fmla="*/ 332 h 1130"/>
                <a:gd name="T16" fmla="*/ 122 w 1304"/>
                <a:gd name="T17" fmla="*/ 164 h 1130"/>
                <a:gd name="T18" fmla="*/ 134 w 1304"/>
                <a:gd name="T19" fmla="*/ 47 h 1130"/>
                <a:gd name="T20" fmla="*/ 177 w 1304"/>
                <a:gd name="T21" fmla="*/ 51 h 1130"/>
                <a:gd name="T22" fmla="*/ 194 w 1304"/>
                <a:gd name="T23" fmla="*/ 90 h 1130"/>
                <a:gd name="T24" fmla="*/ 177 w 1304"/>
                <a:gd name="T25" fmla="*/ 189 h 1130"/>
                <a:gd name="T26" fmla="*/ 400 w 1304"/>
                <a:gd name="T27" fmla="*/ 625 h 1130"/>
                <a:gd name="T28" fmla="*/ 400 w 1304"/>
                <a:gd name="T29" fmla="*/ 780 h 1130"/>
                <a:gd name="T30" fmla="*/ 580 w 1304"/>
                <a:gd name="T31" fmla="*/ 992 h 1130"/>
                <a:gd name="T32" fmla="*/ 777 w 1304"/>
                <a:gd name="T33" fmla="*/ 1083 h 1130"/>
                <a:gd name="T34" fmla="*/ 858 w 1304"/>
                <a:gd name="T35" fmla="*/ 1035 h 1130"/>
                <a:gd name="T36" fmla="*/ 974 w 1304"/>
                <a:gd name="T37" fmla="*/ 1130 h 1130"/>
                <a:gd name="T38" fmla="*/ 1043 w 1304"/>
                <a:gd name="T39" fmla="*/ 1061 h 1130"/>
                <a:gd name="T40" fmla="*/ 1012 w 1304"/>
                <a:gd name="T41" fmla="*/ 983 h 1130"/>
                <a:gd name="T42" fmla="*/ 1111 w 1304"/>
                <a:gd name="T43" fmla="*/ 953 h 1130"/>
                <a:gd name="T44" fmla="*/ 1141 w 1304"/>
                <a:gd name="T45" fmla="*/ 970 h 1130"/>
                <a:gd name="T46" fmla="*/ 1171 w 1304"/>
                <a:gd name="T47" fmla="*/ 940 h 1130"/>
                <a:gd name="T48" fmla="*/ 1218 w 1304"/>
                <a:gd name="T49" fmla="*/ 940 h 1130"/>
                <a:gd name="T50" fmla="*/ 1304 w 1304"/>
                <a:gd name="T51" fmla="*/ 789 h 1130"/>
                <a:gd name="T52" fmla="*/ 1261 w 1304"/>
                <a:gd name="T53" fmla="*/ 751 h 1130"/>
                <a:gd name="T54" fmla="*/ 1093 w 1304"/>
                <a:gd name="T55" fmla="*/ 789 h 1130"/>
                <a:gd name="T56" fmla="*/ 1055 w 1304"/>
                <a:gd name="T57" fmla="*/ 901 h 1130"/>
                <a:gd name="T58" fmla="*/ 956 w 1304"/>
                <a:gd name="T59" fmla="*/ 918 h 1130"/>
                <a:gd name="T60" fmla="*/ 841 w 1304"/>
                <a:gd name="T61" fmla="*/ 871 h 1130"/>
                <a:gd name="T62" fmla="*/ 790 w 1304"/>
                <a:gd name="T63" fmla="*/ 707 h 1130"/>
                <a:gd name="T64" fmla="*/ 829 w 1304"/>
                <a:gd name="T65" fmla="*/ 501 h 1130"/>
                <a:gd name="T66" fmla="*/ 749 w 1304"/>
                <a:gd name="T67" fmla="*/ 451 h 1130"/>
                <a:gd name="T68" fmla="*/ 711 w 1304"/>
                <a:gd name="T69" fmla="*/ 252 h 1130"/>
                <a:gd name="T70" fmla="*/ 679 w 1304"/>
                <a:gd name="T71" fmla="*/ 239 h 1130"/>
                <a:gd name="T72" fmla="*/ 621 w 1304"/>
                <a:gd name="T73" fmla="*/ 298 h 1130"/>
                <a:gd name="T74" fmla="*/ 556 w 1304"/>
                <a:gd name="T75" fmla="*/ 262 h 1130"/>
                <a:gd name="T76" fmla="*/ 529 w 1304"/>
                <a:gd name="T77" fmla="*/ 129 h 1130"/>
                <a:gd name="T78" fmla="*/ 266 w 1304"/>
                <a:gd name="T79" fmla="*/ 102 h 1130"/>
                <a:gd name="T80" fmla="*/ 130 w 1304"/>
                <a:gd name="T81" fmla="*/ 0 h 1130"/>
                <a:gd name="T82" fmla="*/ 0 w 1304"/>
                <a:gd name="T83" fmla="*/ 6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04" h="1130">
                  <a:moveTo>
                    <a:pt x="0" y="6"/>
                  </a:moveTo>
                  <a:lnTo>
                    <a:pt x="84" y="267"/>
                  </a:lnTo>
                  <a:lnTo>
                    <a:pt x="45" y="289"/>
                  </a:lnTo>
                  <a:lnTo>
                    <a:pt x="49" y="340"/>
                  </a:lnTo>
                  <a:lnTo>
                    <a:pt x="122" y="396"/>
                  </a:lnTo>
                  <a:lnTo>
                    <a:pt x="122" y="500"/>
                  </a:lnTo>
                  <a:lnTo>
                    <a:pt x="211" y="586"/>
                  </a:lnTo>
                  <a:lnTo>
                    <a:pt x="173" y="332"/>
                  </a:lnTo>
                  <a:lnTo>
                    <a:pt x="122" y="164"/>
                  </a:lnTo>
                  <a:lnTo>
                    <a:pt x="134" y="47"/>
                  </a:lnTo>
                  <a:lnTo>
                    <a:pt x="177" y="51"/>
                  </a:lnTo>
                  <a:lnTo>
                    <a:pt x="194" y="90"/>
                  </a:lnTo>
                  <a:lnTo>
                    <a:pt x="177" y="189"/>
                  </a:lnTo>
                  <a:lnTo>
                    <a:pt x="400" y="625"/>
                  </a:lnTo>
                  <a:lnTo>
                    <a:pt x="400" y="780"/>
                  </a:lnTo>
                  <a:lnTo>
                    <a:pt x="580" y="992"/>
                  </a:lnTo>
                  <a:lnTo>
                    <a:pt x="777" y="1083"/>
                  </a:lnTo>
                  <a:lnTo>
                    <a:pt x="858" y="1035"/>
                  </a:lnTo>
                  <a:lnTo>
                    <a:pt x="974" y="1130"/>
                  </a:lnTo>
                  <a:lnTo>
                    <a:pt x="1043" y="1061"/>
                  </a:lnTo>
                  <a:lnTo>
                    <a:pt x="1012" y="983"/>
                  </a:lnTo>
                  <a:lnTo>
                    <a:pt x="1111" y="953"/>
                  </a:lnTo>
                  <a:lnTo>
                    <a:pt x="1141" y="970"/>
                  </a:lnTo>
                  <a:lnTo>
                    <a:pt x="1171" y="940"/>
                  </a:lnTo>
                  <a:lnTo>
                    <a:pt x="1218" y="940"/>
                  </a:lnTo>
                  <a:lnTo>
                    <a:pt x="1304" y="789"/>
                  </a:lnTo>
                  <a:lnTo>
                    <a:pt x="1261" y="751"/>
                  </a:lnTo>
                  <a:lnTo>
                    <a:pt x="1093" y="789"/>
                  </a:lnTo>
                  <a:lnTo>
                    <a:pt x="1055" y="901"/>
                  </a:lnTo>
                  <a:lnTo>
                    <a:pt x="956" y="918"/>
                  </a:lnTo>
                  <a:lnTo>
                    <a:pt x="841" y="871"/>
                  </a:lnTo>
                  <a:lnTo>
                    <a:pt x="790" y="707"/>
                  </a:lnTo>
                  <a:lnTo>
                    <a:pt x="829" y="501"/>
                  </a:lnTo>
                  <a:lnTo>
                    <a:pt x="749" y="451"/>
                  </a:lnTo>
                  <a:lnTo>
                    <a:pt x="711" y="252"/>
                  </a:lnTo>
                  <a:lnTo>
                    <a:pt x="679" y="239"/>
                  </a:lnTo>
                  <a:lnTo>
                    <a:pt x="621" y="298"/>
                  </a:lnTo>
                  <a:lnTo>
                    <a:pt x="556" y="262"/>
                  </a:lnTo>
                  <a:lnTo>
                    <a:pt x="529" y="129"/>
                  </a:lnTo>
                  <a:lnTo>
                    <a:pt x="266" y="102"/>
                  </a:lnTo>
                  <a:lnTo>
                    <a:pt x="13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"/>
            <p:cNvSpPr>
              <a:spLocks/>
            </p:cNvSpPr>
            <p:nvPr/>
          </p:nvSpPr>
          <p:spPr bwMode="auto">
            <a:xfrm>
              <a:off x="4797425" y="1830388"/>
              <a:ext cx="85725" cy="65088"/>
            </a:xfrm>
            <a:custGeom>
              <a:avLst/>
              <a:gdLst>
                <a:gd name="T0" fmla="*/ 158 w 162"/>
                <a:gd name="T1" fmla="*/ 4 h 122"/>
                <a:gd name="T2" fmla="*/ 62 w 162"/>
                <a:gd name="T3" fmla="*/ 0 h 122"/>
                <a:gd name="T4" fmla="*/ 1 w 162"/>
                <a:gd name="T5" fmla="*/ 37 h 122"/>
                <a:gd name="T6" fmla="*/ 0 w 162"/>
                <a:gd name="T7" fmla="*/ 65 h 122"/>
                <a:gd name="T8" fmla="*/ 39 w 162"/>
                <a:gd name="T9" fmla="*/ 102 h 122"/>
                <a:gd name="T10" fmla="*/ 162 w 162"/>
                <a:gd name="T11" fmla="*/ 122 h 122"/>
                <a:gd name="T12" fmla="*/ 158 w 162"/>
                <a:gd name="T13" fmla="*/ 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22">
                  <a:moveTo>
                    <a:pt x="158" y="4"/>
                  </a:moveTo>
                  <a:lnTo>
                    <a:pt x="62" y="0"/>
                  </a:lnTo>
                  <a:lnTo>
                    <a:pt x="1" y="37"/>
                  </a:lnTo>
                  <a:lnTo>
                    <a:pt x="0" y="65"/>
                  </a:lnTo>
                  <a:lnTo>
                    <a:pt x="39" y="102"/>
                  </a:lnTo>
                  <a:lnTo>
                    <a:pt x="162" y="122"/>
                  </a:lnTo>
                  <a:lnTo>
                    <a:pt x="15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0"/>
            <p:cNvSpPr>
              <a:spLocks/>
            </p:cNvSpPr>
            <p:nvPr/>
          </p:nvSpPr>
          <p:spPr bwMode="auto">
            <a:xfrm>
              <a:off x="4094163" y="2579688"/>
              <a:ext cx="501650" cy="511175"/>
            </a:xfrm>
            <a:custGeom>
              <a:avLst/>
              <a:gdLst>
                <a:gd name="T0" fmla="*/ 736 w 949"/>
                <a:gd name="T1" fmla="*/ 23 h 965"/>
                <a:gd name="T2" fmla="*/ 666 w 949"/>
                <a:gd name="T3" fmla="*/ 0 h 965"/>
                <a:gd name="T4" fmla="*/ 376 w 949"/>
                <a:gd name="T5" fmla="*/ 54 h 965"/>
                <a:gd name="T6" fmla="*/ 312 w 949"/>
                <a:gd name="T7" fmla="*/ 102 h 965"/>
                <a:gd name="T8" fmla="*/ 350 w 949"/>
                <a:gd name="T9" fmla="*/ 302 h 965"/>
                <a:gd name="T10" fmla="*/ 236 w 949"/>
                <a:gd name="T11" fmla="*/ 307 h 965"/>
                <a:gd name="T12" fmla="*/ 166 w 949"/>
                <a:gd name="T13" fmla="*/ 419 h 965"/>
                <a:gd name="T14" fmla="*/ 0 w 949"/>
                <a:gd name="T15" fmla="*/ 459 h 965"/>
                <a:gd name="T16" fmla="*/ 0 w 949"/>
                <a:gd name="T17" fmla="*/ 540 h 965"/>
                <a:gd name="T18" fmla="*/ 546 w 949"/>
                <a:gd name="T19" fmla="*/ 957 h 965"/>
                <a:gd name="T20" fmla="*/ 639 w 949"/>
                <a:gd name="T21" fmla="*/ 965 h 965"/>
                <a:gd name="T22" fmla="*/ 949 w 949"/>
                <a:gd name="T23" fmla="*/ 722 h 965"/>
                <a:gd name="T24" fmla="*/ 918 w 949"/>
                <a:gd name="T25" fmla="*/ 683 h 965"/>
                <a:gd name="T26" fmla="*/ 860 w 949"/>
                <a:gd name="T27" fmla="*/ 676 h 965"/>
                <a:gd name="T28" fmla="*/ 825 w 949"/>
                <a:gd name="T29" fmla="*/ 617 h 965"/>
                <a:gd name="T30" fmla="*/ 825 w 949"/>
                <a:gd name="T31" fmla="*/ 374 h 965"/>
                <a:gd name="T32" fmla="*/ 802 w 949"/>
                <a:gd name="T33" fmla="*/ 351 h 965"/>
                <a:gd name="T34" fmla="*/ 806 w 949"/>
                <a:gd name="T35" fmla="*/ 288 h 965"/>
                <a:gd name="T36" fmla="*/ 744 w 949"/>
                <a:gd name="T37" fmla="*/ 226 h 965"/>
                <a:gd name="T38" fmla="*/ 736 w 949"/>
                <a:gd name="T39" fmla="*/ 159 h 965"/>
                <a:gd name="T40" fmla="*/ 764 w 949"/>
                <a:gd name="T41" fmla="*/ 140 h 965"/>
                <a:gd name="T42" fmla="*/ 751 w 949"/>
                <a:gd name="T43" fmla="*/ 70 h 965"/>
                <a:gd name="T44" fmla="*/ 736 w 949"/>
                <a:gd name="T45" fmla="*/ 23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49" h="965">
                  <a:moveTo>
                    <a:pt x="736" y="23"/>
                  </a:moveTo>
                  <a:lnTo>
                    <a:pt x="666" y="0"/>
                  </a:lnTo>
                  <a:lnTo>
                    <a:pt x="376" y="54"/>
                  </a:lnTo>
                  <a:lnTo>
                    <a:pt x="312" y="102"/>
                  </a:lnTo>
                  <a:lnTo>
                    <a:pt x="350" y="302"/>
                  </a:lnTo>
                  <a:lnTo>
                    <a:pt x="236" y="307"/>
                  </a:lnTo>
                  <a:lnTo>
                    <a:pt x="166" y="419"/>
                  </a:lnTo>
                  <a:lnTo>
                    <a:pt x="0" y="459"/>
                  </a:lnTo>
                  <a:lnTo>
                    <a:pt x="0" y="540"/>
                  </a:lnTo>
                  <a:lnTo>
                    <a:pt x="546" y="957"/>
                  </a:lnTo>
                  <a:lnTo>
                    <a:pt x="639" y="965"/>
                  </a:lnTo>
                  <a:lnTo>
                    <a:pt x="949" y="722"/>
                  </a:lnTo>
                  <a:lnTo>
                    <a:pt x="918" y="683"/>
                  </a:lnTo>
                  <a:lnTo>
                    <a:pt x="860" y="676"/>
                  </a:lnTo>
                  <a:lnTo>
                    <a:pt x="825" y="617"/>
                  </a:lnTo>
                  <a:lnTo>
                    <a:pt x="825" y="374"/>
                  </a:lnTo>
                  <a:lnTo>
                    <a:pt x="802" y="351"/>
                  </a:lnTo>
                  <a:lnTo>
                    <a:pt x="806" y="288"/>
                  </a:lnTo>
                  <a:lnTo>
                    <a:pt x="744" y="226"/>
                  </a:lnTo>
                  <a:lnTo>
                    <a:pt x="736" y="159"/>
                  </a:lnTo>
                  <a:lnTo>
                    <a:pt x="764" y="140"/>
                  </a:lnTo>
                  <a:lnTo>
                    <a:pt x="751" y="70"/>
                  </a:lnTo>
                  <a:lnTo>
                    <a:pt x="73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1"/>
            <p:cNvSpPr>
              <a:spLocks/>
            </p:cNvSpPr>
            <p:nvPr/>
          </p:nvSpPr>
          <p:spPr bwMode="auto">
            <a:xfrm>
              <a:off x="3857625" y="2635250"/>
              <a:ext cx="412750" cy="395288"/>
            </a:xfrm>
            <a:custGeom>
              <a:avLst/>
              <a:gdLst>
                <a:gd name="T0" fmla="*/ 744 w 779"/>
                <a:gd name="T1" fmla="*/ 0 h 746"/>
                <a:gd name="T2" fmla="*/ 546 w 779"/>
                <a:gd name="T3" fmla="*/ 0 h 746"/>
                <a:gd name="T4" fmla="*/ 507 w 779"/>
                <a:gd name="T5" fmla="*/ 86 h 746"/>
                <a:gd name="T6" fmla="*/ 418 w 779"/>
                <a:gd name="T7" fmla="*/ 129 h 746"/>
                <a:gd name="T8" fmla="*/ 345 w 779"/>
                <a:gd name="T9" fmla="*/ 328 h 746"/>
                <a:gd name="T10" fmla="*/ 201 w 779"/>
                <a:gd name="T11" fmla="*/ 414 h 746"/>
                <a:gd name="T12" fmla="*/ 0 w 779"/>
                <a:gd name="T13" fmla="*/ 746 h 746"/>
                <a:gd name="T14" fmla="*/ 198 w 779"/>
                <a:gd name="T15" fmla="*/ 742 h 746"/>
                <a:gd name="T16" fmla="*/ 205 w 779"/>
                <a:gd name="T17" fmla="*/ 645 h 746"/>
                <a:gd name="T18" fmla="*/ 256 w 779"/>
                <a:gd name="T19" fmla="*/ 645 h 746"/>
                <a:gd name="T20" fmla="*/ 256 w 779"/>
                <a:gd name="T21" fmla="*/ 512 h 746"/>
                <a:gd name="T22" fmla="*/ 430 w 779"/>
                <a:gd name="T23" fmla="*/ 512 h 746"/>
                <a:gd name="T24" fmla="*/ 434 w 779"/>
                <a:gd name="T25" fmla="*/ 340 h 746"/>
                <a:gd name="T26" fmla="*/ 601 w 779"/>
                <a:gd name="T27" fmla="*/ 301 h 746"/>
                <a:gd name="T28" fmla="*/ 671 w 779"/>
                <a:gd name="T29" fmla="*/ 188 h 746"/>
                <a:gd name="T30" fmla="*/ 779 w 779"/>
                <a:gd name="T31" fmla="*/ 184 h 746"/>
                <a:gd name="T32" fmla="*/ 744 w 779"/>
                <a:gd name="T33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9" h="746">
                  <a:moveTo>
                    <a:pt x="744" y="0"/>
                  </a:moveTo>
                  <a:lnTo>
                    <a:pt x="546" y="0"/>
                  </a:lnTo>
                  <a:lnTo>
                    <a:pt x="507" y="86"/>
                  </a:lnTo>
                  <a:lnTo>
                    <a:pt x="418" y="129"/>
                  </a:lnTo>
                  <a:lnTo>
                    <a:pt x="345" y="328"/>
                  </a:lnTo>
                  <a:lnTo>
                    <a:pt x="201" y="414"/>
                  </a:lnTo>
                  <a:lnTo>
                    <a:pt x="0" y="746"/>
                  </a:lnTo>
                  <a:lnTo>
                    <a:pt x="198" y="742"/>
                  </a:lnTo>
                  <a:lnTo>
                    <a:pt x="205" y="645"/>
                  </a:lnTo>
                  <a:lnTo>
                    <a:pt x="256" y="645"/>
                  </a:lnTo>
                  <a:lnTo>
                    <a:pt x="256" y="512"/>
                  </a:lnTo>
                  <a:lnTo>
                    <a:pt x="430" y="512"/>
                  </a:lnTo>
                  <a:lnTo>
                    <a:pt x="434" y="340"/>
                  </a:lnTo>
                  <a:lnTo>
                    <a:pt x="601" y="301"/>
                  </a:lnTo>
                  <a:lnTo>
                    <a:pt x="671" y="188"/>
                  </a:lnTo>
                  <a:lnTo>
                    <a:pt x="779" y="184"/>
                  </a:lnTo>
                  <a:lnTo>
                    <a:pt x="7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2"/>
            <p:cNvSpPr>
              <a:spLocks/>
            </p:cNvSpPr>
            <p:nvPr/>
          </p:nvSpPr>
          <p:spPr bwMode="auto">
            <a:xfrm>
              <a:off x="3859213" y="2876550"/>
              <a:ext cx="309563" cy="330200"/>
            </a:xfrm>
            <a:custGeom>
              <a:avLst/>
              <a:gdLst>
                <a:gd name="T0" fmla="*/ 0 w 585"/>
                <a:gd name="T1" fmla="*/ 306 h 623"/>
                <a:gd name="T2" fmla="*/ 37 w 585"/>
                <a:gd name="T3" fmla="*/ 354 h 623"/>
                <a:gd name="T4" fmla="*/ 29 w 585"/>
                <a:gd name="T5" fmla="*/ 565 h 623"/>
                <a:gd name="T6" fmla="*/ 84 w 585"/>
                <a:gd name="T7" fmla="*/ 526 h 623"/>
                <a:gd name="T8" fmla="*/ 123 w 585"/>
                <a:gd name="T9" fmla="*/ 518 h 623"/>
                <a:gd name="T10" fmla="*/ 177 w 585"/>
                <a:gd name="T11" fmla="*/ 538 h 623"/>
                <a:gd name="T12" fmla="*/ 239 w 585"/>
                <a:gd name="T13" fmla="*/ 623 h 623"/>
                <a:gd name="T14" fmla="*/ 297 w 585"/>
                <a:gd name="T15" fmla="*/ 585 h 623"/>
                <a:gd name="T16" fmla="*/ 580 w 585"/>
                <a:gd name="T17" fmla="*/ 581 h 623"/>
                <a:gd name="T18" fmla="*/ 510 w 585"/>
                <a:gd name="T19" fmla="*/ 108 h 623"/>
                <a:gd name="T20" fmla="*/ 585 w 585"/>
                <a:gd name="T21" fmla="*/ 108 h 623"/>
                <a:gd name="T22" fmla="*/ 445 w 585"/>
                <a:gd name="T23" fmla="*/ 0 h 623"/>
                <a:gd name="T24" fmla="*/ 445 w 585"/>
                <a:gd name="T25" fmla="*/ 70 h 623"/>
                <a:gd name="T26" fmla="*/ 269 w 585"/>
                <a:gd name="T27" fmla="*/ 70 h 623"/>
                <a:gd name="T28" fmla="*/ 268 w 585"/>
                <a:gd name="T29" fmla="*/ 203 h 623"/>
                <a:gd name="T30" fmla="*/ 217 w 585"/>
                <a:gd name="T31" fmla="*/ 202 h 623"/>
                <a:gd name="T32" fmla="*/ 211 w 585"/>
                <a:gd name="T33" fmla="*/ 300 h 623"/>
                <a:gd name="T34" fmla="*/ 0 w 585"/>
                <a:gd name="T35" fmla="*/ 30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5" h="623">
                  <a:moveTo>
                    <a:pt x="0" y="306"/>
                  </a:moveTo>
                  <a:lnTo>
                    <a:pt x="37" y="354"/>
                  </a:lnTo>
                  <a:lnTo>
                    <a:pt x="29" y="565"/>
                  </a:lnTo>
                  <a:lnTo>
                    <a:pt x="84" y="526"/>
                  </a:lnTo>
                  <a:lnTo>
                    <a:pt x="123" y="518"/>
                  </a:lnTo>
                  <a:lnTo>
                    <a:pt x="177" y="538"/>
                  </a:lnTo>
                  <a:lnTo>
                    <a:pt x="239" y="623"/>
                  </a:lnTo>
                  <a:lnTo>
                    <a:pt x="297" y="585"/>
                  </a:lnTo>
                  <a:lnTo>
                    <a:pt x="580" y="581"/>
                  </a:lnTo>
                  <a:lnTo>
                    <a:pt x="510" y="108"/>
                  </a:lnTo>
                  <a:lnTo>
                    <a:pt x="585" y="108"/>
                  </a:lnTo>
                  <a:lnTo>
                    <a:pt x="445" y="0"/>
                  </a:lnTo>
                  <a:lnTo>
                    <a:pt x="445" y="70"/>
                  </a:lnTo>
                  <a:lnTo>
                    <a:pt x="269" y="70"/>
                  </a:lnTo>
                  <a:lnTo>
                    <a:pt x="268" y="203"/>
                  </a:lnTo>
                  <a:lnTo>
                    <a:pt x="217" y="202"/>
                  </a:lnTo>
                  <a:lnTo>
                    <a:pt x="211" y="300"/>
                  </a:lnTo>
                  <a:lnTo>
                    <a:pt x="0" y="3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"/>
            <p:cNvSpPr>
              <a:spLocks/>
            </p:cNvSpPr>
            <p:nvPr/>
          </p:nvSpPr>
          <p:spPr bwMode="auto">
            <a:xfrm>
              <a:off x="3859213" y="3157538"/>
              <a:ext cx="155575" cy="112713"/>
            </a:xfrm>
            <a:custGeom>
              <a:avLst/>
              <a:gdLst>
                <a:gd name="T0" fmla="*/ 87 w 293"/>
                <a:gd name="T1" fmla="*/ 8 h 214"/>
                <a:gd name="T2" fmla="*/ 20 w 293"/>
                <a:gd name="T3" fmla="*/ 57 h 214"/>
                <a:gd name="T4" fmla="*/ 5 w 293"/>
                <a:gd name="T5" fmla="*/ 84 h 214"/>
                <a:gd name="T6" fmla="*/ 0 w 293"/>
                <a:gd name="T7" fmla="*/ 112 h 214"/>
                <a:gd name="T8" fmla="*/ 24 w 293"/>
                <a:gd name="T9" fmla="*/ 130 h 214"/>
                <a:gd name="T10" fmla="*/ 107 w 293"/>
                <a:gd name="T11" fmla="*/ 129 h 214"/>
                <a:gd name="T12" fmla="*/ 161 w 293"/>
                <a:gd name="T13" fmla="*/ 114 h 214"/>
                <a:gd name="T14" fmla="*/ 166 w 293"/>
                <a:gd name="T15" fmla="*/ 140 h 214"/>
                <a:gd name="T16" fmla="*/ 162 w 293"/>
                <a:gd name="T17" fmla="*/ 175 h 214"/>
                <a:gd name="T18" fmla="*/ 213 w 293"/>
                <a:gd name="T19" fmla="*/ 200 h 214"/>
                <a:gd name="T20" fmla="*/ 223 w 293"/>
                <a:gd name="T21" fmla="*/ 212 h 214"/>
                <a:gd name="T22" fmla="*/ 291 w 293"/>
                <a:gd name="T23" fmla="*/ 214 h 214"/>
                <a:gd name="T24" fmla="*/ 293 w 293"/>
                <a:gd name="T25" fmla="*/ 185 h 214"/>
                <a:gd name="T26" fmla="*/ 231 w 293"/>
                <a:gd name="T27" fmla="*/ 111 h 214"/>
                <a:gd name="T28" fmla="*/ 163 w 293"/>
                <a:gd name="T29" fmla="*/ 17 h 214"/>
                <a:gd name="T30" fmla="*/ 121 w 293"/>
                <a:gd name="T31" fmla="*/ 0 h 214"/>
                <a:gd name="T32" fmla="*/ 87 w 293"/>
                <a:gd name="T33" fmla="*/ 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3" h="214">
                  <a:moveTo>
                    <a:pt x="87" y="8"/>
                  </a:moveTo>
                  <a:lnTo>
                    <a:pt x="20" y="57"/>
                  </a:lnTo>
                  <a:lnTo>
                    <a:pt x="5" y="84"/>
                  </a:lnTo>
                  <a:lnTo>
                    <a:pt x="0" y="112"/>
                  </a:lnTo>
                  <a:lnTo>
                    <a:pt x="24" y="130"/>
                  </a:lnTo>
                  <a:lnTo>
                    <a:pt x="107" y="129"/>
                  </a:lnTo>
                  <a:lnTo>
                    <a:pt x="161" y="114"/>
                  </a:lnTo>
                  <a:lnTo>
                    <a:pt x="166" y="140"/>
                  </a:lnTo>
                  <a:lnTo>
                    <a:pt x="162" y="175"/>
                  </a:lnTo>
                  <a:lnTo>
                    <a:pt x="213" y="200"/>
                  </a:lnTo>
                  <a:lnTo>
                    <a:pt x="223" y="212"/>
                  </a:lnTo>
                  <a:lnTo>
                    <a:pt x="291" y="214"/>
                  </a:lnTo>
                  <a:lnTo>
                    <a:pt x="293" y="185"/>
                  </a:lnTo>
                  <a:lnTo>
                    <a:pt x="231" y="111"/>
                  </a:lnTo>
                  <a:lnTo>
                    <a:pt x="163" y="17"/>
                  </a:lnTo>
                  <a:lnTo>
                    <a:pt x="121" y="0"/>
                  </a:lnTo>
                  <a:lnTo>
                    <a:pt x="8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/>
            <p:cNvSpPr>
              <a:spLocks/>
            </p:cNvSpPr>
            <p:nvPr/>
          </p:nvSpPr>
          <p:spPr bwMode="auto">
            <a:xfrm>
              <a:off x="3875088" y="3224213"/>
              <a:ext cx="66675" cy="20638"/>
            </a:xfrm>
            <a:custGeom>
              <a:avLst/>
              <a:gdLst>
                <a:gd name="T0" fmla="*/ 2 w 124"/>
                <a:gd name="T1" fmla="*/ 18 h 37"/>
                <a:gd name="T2" fmla="*/ 0 w 124"/>
                <a:gd name="T3" fmla="*/ 37 h 37"/>
                <a:gd name="T4" fmla="*/ 118 w 124"/>
                <a:gd name="T5" fmla="*/ 35 h 37"/>
                <a:gd name="T6" fmla="*/ 124 w 124"/>
                <a:gd name="T7" fmla="*/ 18 h 37"/>
                <a:gd name="T8" fmla="*/ 122 w 124"/>
                <a:gd name="T9" fmla="*/ 0 h 37"/>
                <a:gd name="T10" fmla="*/ 88 w 124"/>
                <a:gd name="T11" fmla="*/ 14 h 37"/>
                <a:gd name="T12" fmla="*/ 2 w 124"/>
                <a:gd name="T13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7">
                  <a:moveTo>
                    <a:pt x="2" y="18"/>
                  </a:moveTo>
                  <a:lnTo>
                    <a:pt x="0" y="37"/>
                  </a:lnTo>
                  <a:lnTo>
                    <a:pt x="118" y="35"/>
                  </a:lnTo>
                  <a:lnTo>
                    <a:pt x="124" y="18"/>
                  </a:lnTo>
                  <a:lnTo>
                    <a:pt x="122" y="0"/>
                  </a:lnTo>
                  <a:lnTo>
                    <a:pt x="88" y="14"/>
                  </a:lnTo>
                  <a:lnTo>
                    <a:pt x="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5"/>
            <p:cNvSpPr>
              <a:spLocks/>
            </p:cNvSpPr>
            <p:nvPr/>
          </p:nvSpPr>
          <p:spPr bwMode="auto">
            <a:xfrm>
              <a:off x="3875088" y="3251200"/>
              <a:ext cx="95250" cy="26988"/>
            </a:xfrm>
            <a:custGeom>
              <a:avLst/>
              <a:gdLst>
                <a:gd name="T0" fmla="*/ 0 w 178"/>
                <a:gd name="T1" fmla="*/ 0 h 51"/>
                <a:gd name="T2" fmla="*/ 22 w 178"/>
                <a:gd name="T3" fmla="*/ 51 h 51"/>
                <a:gd name="T4" fmla="*/ 34 w 178"/>
                <a:gd name="T5" fmla="*/ 19 h 51"/>
                <a:gd name="T6" fmla="*/ 178 w 178"/>
                <a:gd name="T7" fmla="*/ 34 h 51"/>
                <a:gd name="T8" fmla="*/ 115 w 178"/>
                <a:gd name="T9" fmla="*/ 3 h 51"/>
                <a:gd name="T10" fmla="*/ 0 w 178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51">
                  <a:moveTo>
                    <a:pt x="0" y="0"/>
                  </a:moveTo>
                  <a:lnTo>
                    <a:pt x="22" y="51"/>
                  </a:lnTo>
                  <a:lnTo>
                    <a:pt x="34" y="19"/>
                  </a:lnTo>
                  <a:lnTo>
                    <a:pt x="178" y="34"/>
                  </a:lnTo>
                  <a:lnTo>
                    <a:pt x="115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6"/>
            <p:cNvSpPr>
              <a:spLocks/>
            </p:cNvSpPr>
            <p:nvPr/>
          </p:nvSpPr>
          <p:spPr bwMode="auto">
            <a:xfrm>
              <a:off x="3892550" y="3270250"/>
              <a:ext cx="47625" cy="46038"/>
            </a:xfrm>
            <a:custGeom>
              <a:avLst/>
              <a:gdLst>
                <a:gd name="T0" fmla="*/ 0 w 91"/>
                <a:gd name="T1" fmla="*/ 40 h 87"/>
                <a:gd name="T2" fmla="*/ 23 w 91"/>
                <a:gd name="T3" fmla="*/ 87 h 87"/>
                <a:gd name="T4" fmla="*/ 91 w 91"/>
                <a:gd name="T5" fmla="*/ 29 h 87"/>
                <a:gd name="T6" fmla="*/ 91 w 91"/>
                <a:gd name="T7" fmla="*/ 11 h 87"/>
                <a:gd name="T8" fmla="*/ 12 w 91"/>
                <a:gd name="T9" fmla="*/ 0 h 87"/>
                <a:gd name="T10" fmla="*/ 0 w 91"/>
                <a:gd name="T11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87">
                  <a:moveTo>
                    <a:pt x="0" y="40"/>
                  </a:moveTo>
                  <a:lnTo>
                    <a:pt x="23" y="87"/>
                  </a:lnTo>
                  <a:lnTo>
                    <a:pt x="91" y="29"/>
                  </a:lnTo>
                  <a:lnTo>
                    <a:pt x="91" y="11"/>
                  </a:lnTo>
                  <a:lnTo>
                    <a:pt x="12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7"/>
            <p:cNvSpPr>
              <a:spLocks/>
            </p:cNvSpPr>
            <p:nvPr/>
          </p:nvSpPr>
          <p:spPr bwMode="auto">
            <a:xfrm>
              <a:off x="3908425" y="3273425"/>
              <a:ext cx="176213" cy="115888"/>
            </a:xfrm>
            <a:custGeom>
              <a:avLst/>
              <a:gdLst>
                <a:gd name="T0" fmla="*/ 0 w 332"/>
                <a:gd name="T1" fmla="*/ 91 h 218"/>
                <a:gd name="T2" fmla="*/ 53 w 332"/>
                <a:gd name="T3" fmla="*/ 171 h 218"/>
                <a:gd name="T4" fmla="*/ 120 w 332"/>
                <a:gd name="T5" fmla="*/ 112 h 218"/>
                <a:gd name="T6" fmla="*/ 190 w 332"/>
                <a:gd name="T7" fmla="*/ 109 h 218"/>
                <a:gd name="T8" fmla="*/ 248 w 332"/>
                <a:gd name="T9" fmla="*/ 186 h 218"/>
                <a:gd name="T10" fmla="*/ 297 w 332"/>
                <a:gd name="T11" fmla="*/ 218 h 218"/>
                <a:gd name="T12" fmla="*/ 316 w 332"/>
                <a:gd name="T13" fmla="*/ 182 h 218"/>
                <a:gd name="T14" fmla="*/ 332 w 332"/>
                <a:gd name="T15" fmla="*/ 173 h 218"/>
                <a:gd name="T16" fmla="*/ 331 w 332"/>
                <a:gd name="T17" fmla="*/ 94 h 218"/>
                <a:gd name="T18" fmla="*/ 298 w 332"/>
                <a:gd name="T19" fmla="*/ 0 h 218"/>
                <a:gd name="T20" fmla="*/ 198 w 332"/>
                <a:gd name="T21" fmla="*/ 11 h 218"/>
                <a:gd name="T22" fmla="*/ 73 w 332"/>
                <a:gd name="T23" fmla="*/ 1 h 218"/>
                <a:gd name="T24" fmla="*/ 73 w 332"/>
                <a:gd name="T25" fmla="*/ 33 h 218"/>
                <a:gd name="T26" fmla="*/ 0 w 332"/>
                <a:gd name="T27" fmla="*/ 91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2" h="218">
                  <a:moveTo>
                    <a:pt x="0" y="91"/>
                  </a:moveTo>
                  <a:lnTo>
                    <a:pt x="53" y="171"/>
                  </a:lnTo>
                  <a:lnTo>
                    <a:pt x="120" y="112"/>
                  </a:lnTo>
                  <a:lnTo>
                    <a:pt x="190" y="109"/>
                  </a:lnTo>
                  <a:lnTo>
                    <a:pt x="248" y="186"/>
                  </a:lnTo>
                  <a:lnTo>
                    <a:pt x="297" y="218"/>
                  </a:lnTo>
                  <a:lnTo>
                    <a:pt x="316" y="182"/>
                  </a:lnTo>
                  <a:lnTo>
                    <a:pt x="332" y="173"/>
                  </a:lnTo>
                  <a:lnTo>
                    <a:pt x="331" y="94"/>
                  </a:lnTo>
                  <a:lnTo>
                    <a:pt x="298" y="0"/>
                  </a:lnTo>
                  <a:lnTo>
                    <a:pt x="198" y="11"/>
                  </a:lnTo>
                  <a:lnTo>
                    <a:pt x="73" y="1"/>
                  </a:lnTo>
                  <a:lnTo>
                    <a:pt x="73" y="33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8"/>
            <p:cNvSpPr>
              <a:spLocks/>
            </p:cNvSpPr>
            <p:nvPr/>
          </p:nvSpPr>
          <p:spPr bwMode="auto">
            <a:xfrm>
              <a:off x="3940175" y="3338513"/>
              <a:ext cx="87313" cy="79375"/>
            </a:xfrm>
            <a:custGeom>
              <a:avLst/>
              <a:gdLst>
                <a:gd name="T0" fmla="*/ 0 w 165"/>
                <a:gd name="T1" fmla="*/ 58 h 151"/>
                <a:gd name="T2" fmla="*/ 96 w 165"/>
                <a:gd name="T3" fmla="*/ 151 h 151"/>
                <a:gd name="T4" fmla="*/ 165 w 165"/>
                <a:gd name="T5" fmla="*/ 68 h 151"/>
                <a:gd name="T6" fmla="*/ 122 w 165"/>
                <a:gd name="T7" fmla="*/ 0 h 151"/>
                <a:gd name="T8" fmla="*/ 63 w 165"/>
                <a:gd name="T9" fmla="*/ 6 h 151"/>
                <a:gd name="T10" fmla="*/ 0 w 165"/>
                <a:gd name="T11" fmla="*/ 5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151">
                  <a:moveTo>
                    <a:pt x="0" y="58"/>
                  </a:moveTo>
                  <a:lnTo>
                    <a:pt x="96" y="151"/>
                  </a:lnTo>
                  <a:lnTo>
                    <a:pt x="165" y="68"/>
                  </a:lnTo>
                  <a:lnTo>
                    <a:pt x="122" y="0"/>
                  </a:lnTo>
                  <a:lnTo>
                    <a:pt x="63" y="6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9"/>
            <p:cNvSpPr>
              <a:spLocks/>
            </p:cNvSpPr>
            <p:nvPr/>
          </p:nvSpPr>
          <p:spPr bwMode="auto">
            <a:xfrm>
              <a:off x="3997325" y="3378200"/>
              <a:ext cx="98425" cy="111125"/>
            </a:xfrm>
            <a:custGeom>
              <a:avLst/>
              <a:gdLst>
                <a:gd name="T0" fmla="*/ 0 w 187"/>
                <a:gd name="T1" fmla="*/ 85 h 211"/>
                <a:gd name="T2" fmla="*/ 187 w 187"/>
                <a:gd name="T3" fmla="*/ 211 h 211"/>
                <a:gd name="T4" fmla="*/ 183 w 187"/>
                <a:gd name="T5" fmla="*/ 116 h 211"/>
                <a:gd name="T6" fmla="*/ 126 w 187"/>
                <a:gd name="T7" fmla="*/ 49 h 211"/>
                <a:gd name="T8" fmla="*/ 71 w 187"/>
                <a:gd name="T9" fmla="*/ 0 h 211"/>
                <a:gd name="T10" fmla="*/ 0 w 187"/>
                <a:gd name="T11" fmla="*/ 8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211">
                  <a:moveTo>
                    <a:pt x="0" y="85"/>
                  </a:moveTo>
                  <a:lnTo>
                    <a:pt x="187" y="211"/>
                  </a:lnTo>
                  <a:lnTo>
                    <a:pt x="183" y="116"/>
                  </a:lnTo>
                  <a:lnTo>
                    <a:pt x="126" y="49"/>
                  </a:lnTo>
                  <a:lnTo>
                    <a:pt x="71" y="0"/>
                  </a:lnTo>
                  <a:lnTo>
                    <a:pt x="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0"/>
            <p:cNvSpPr>
              <a:spLocks/>
            </p:cNvSpPr>
            <p:nvPr/>
          </p:nvSpPr>
          <p:spPr bwMode="auto">
            <a:xfrm>
              <a:off x="4068763" y="3319463"/>
              <a:ext cx="171450" cy="173038"/>
            </a:xfrm>
            <a:custGeom>
              <a:avLst/>
              <a:gdLst>
                <a:gd name="T0" fmla="*/ 68 w 324"/>
                <a:gd name="T1" fmla="*/ 325 h 325"/>
                <a:gd name="T2" fmla="*/ 141 w 324"/>
                <a:gd name="T3" fmla="*/ 274 h 325"/>
                <a:gd name="T4" fmla="*/ 232 w 324"/>
                <a:gd name="T5" fmla="*/ 257 h 325"/>
                <a:gd name="T6" fmla="*/ 324 w 324"/>
                <a:gd name="T7" fmla="*/ 278 h 325"/>
                <a:gd name="T8" fmla="*/ 278 w 324"/>
                <a:gd name="T9" fmla="*/ 206 h 325"/>
                <a:gd name="T10" fmla="*/ 263 w 324"/>
                <a:gd name="T11" fmla="*/ 162 h 325"/>
                <a:gd name="T12" fmla="*/ 278 w 324"/>
                <a:gd name="T13" fmla="*/ 32 h 325"/>
                <a:gd name="T14" fmla="*/ 194 w 324"/>
                <a:gd name="T15" fmla="*/ 36 h 325"/>
                <a:gd name="T16" fmla="*/ 157 w 324"/>
                <a:gd name="T17" fmla="*/ 0 h 325"/>
                <a:gd name="T18" fmla="*/ 78 w 324"/>
                <a:gd name="T19" fmla="*/ 2 h 325"/>
                <a:gd name="T20" fmla="*/ 39 w 324"/>
                <a:gd name="T21" fmla="*/ 8 h 325"/>
                <a:gd name="T22" fmla="*/ 43 w 324"/>
                <a:gd name="T23" fmla="*/ 96 h 325"/>
                <a:gd name="T24" fmla="*/ 24 w 324"/>
                <a:gd name="T25" fmla="*/ 104 h 325"/>
                <a:gd name="T26" fmla="*/ 0 w 324"/>
                <a:gd name="T27" fmla="*/ 148 h 325"/>
                <a:gd name="T28" fmla="*/ 62 w 324"/>
                <a:gd name="T29" fmla="*/ 220 h 325"/>
                <a:gd name="T30" fmla="*/ 68 w 324"/>
                <a:gd name="T31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4" h="325">
                  <a:moveTo>
                    <a:pt x="68" y="325"/>
                  </a:moveTo>
                  <a:lnTo>
                    <a:pt x="141" y="274"/>
                  </a:lnTo>
                  <a:lnTo>
                    <a:pt x="232" y="257"/>
                  </a:lnTo>
                  <a:lnTo>
                    <a:pt x="324" y="278"/>
                  </a:lnTo>
                  <a:lnTo>
                    <a:pt x="278" y="206"/>
                  </a:lnTo>
                  <a:lnTo>
                    <a:pt x="263" y="162"/>
                  </a:lnTo>
                  <a:lnTo>
                    <a:pt x="278" y="32"/>
                  </a:lnTo>
                  <a:lnTo>
                    <a:pt x="194" y="36"/>
                  </a:lnTo>
                  <a:lnTo>
                    <a:pt x="157" y="0"/>
                  </a:lnTo>
                  <a:lnTo>
                    <a:pt x="78" y="2"/>
                  </a:lnTo>
                  <a:lnTo>
                    <a:pt x="39" y="8"/>
                  </a:lnTo>
                  <a:lnTo>
                    <a:pt x="43" y="96"/>
                  </a:lnTo>
                  <a:lnTo>
                    <a:pt x="24" y="104"/>
                  </a:lnTo>
                  <a:lnTo>
                    <a:pt x="0" y="148"/>
                  </a:lnTo>
                  <a:lnTo>
                    <a:pt x="62" y="220"/>
                  </a:lnTo>
                  <a:lnTo>
                    <a:pt x="68" y="3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1"/>
            <p:cNvSpPr>
              <a:spLocks/>
            </p:cNvSpPr>
            <p:nvPr/>
          </p:nvSpPr>
          <p:spPr bwMode="auto">
            <a:xfrm>
              <a:off x="3990975" y="2941638"/>
              <a:ext cx="412750" cy="373063"/>
            </a:xfrm>
            <a:custGeom>
              <a:avLst/>
              <a:gdLst>
                <a:gd name="T0" fmla="*/ 0 w 781"/>
                <a:gd name="T1" fmla="*/ 511 h 707"/>
                <a:gd name="T2" fmla="*/ 53 w 781"/>
                <a:gd name="T3" fmla="*/ 476 h 707"/>
                <a:gd name="T4" fmla="*/ 347 w 781"/>
                <a:gd name="T5" fmla="*/ 474 h 707"/>
                <a:gd name="T6" fmla="*/ 279 w 781"/>
                <a:gd name="T7" fmla="*/ 2 h 707"/>
                <a:gd name="T8" fmla="*/ 356 w 781"/>
                <a:gd name="T9" fmla="*/ 0 h 707"/>
                <a:gd name="T10" fmla="*/ 730 w 781"/>
                <a:gd name="T11" fmla="*/ 286 h 707"/>
                <a:gd name="T12" fmla="*/ 781 w 781"/>
                <a:gd name="T13" fmla="*/ 293 h 707"/>
                <a:gd name="T14" fmla="*/ 762 w 781"/>
                <a:gd name="T15" fmla="*/ 452 h 707"/>
                <a:gd name="T16" fmla="*/ 526 w 781"/>
                <a:gd name="T17" fmla="*/ 473 h 707"/>
                <a:gd name="T18" fmla="*/ 344 w 781"/>
                <a:gd name="T19" fmla="*/ 609 h 707"/>
                <a:gd name="T20" fmla="*/ 311 w 781"/>
                <a:gd name="T21" fmla="*/ 701 h 707"/>
                <a:gd name="T22" fmla="*/ 185 w 781"/>
                <a:gd name="T23" fmla="*/ 707 h 707"/>
                <a:gd name="T24" fmla="*/ 153 w 781"/>
                <a:gd name="T25" fmla="*/ 614 h 707"/>
                <a:gd name="T26" fmla="*/ 56 w 781"/>
                <a:gd name="T27" fmla="*/ 621 h 707"/>
                <a:gd name="T28" fmla="*/ 60 w 781"/>
                <a:gd name="T29" fmla="*/ 591 h 707"/>
                <a:gd name="T30" fmla="*/ 0 w 781"/>
                <a:gd name="T31" fmla="*/ 511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81" h="707">
                  <a:moveTo>
                    <a:pt x="0" y="511"/>
                  </a:moveTo>
                  <a:lnTo>
                    <a:pt x="53" y="476"/>
                  </a:lnTo>
                  <a:lnTo>
                    <a:pt x="347" y="474"/>
                  </a:lnTo>
                  <a:lnTo>
                    <a:pt x="279" y="2"/>
                  </a:lnTo>
                  <a:lnTo>
                    <a:pt x="356" y="0"/>
                  </a:lnTo>
                  <a:lnTo>
                    <a:pt x="730" y="286"/>
                  </a:lnTo>
                  <a:lnTo>
                    <a:pt x="781" y="293"/>
                  </a:lnTo>
                  <a:lnTo>
                    <a:pt x="762" y="452"/>
                  </a:lnTo>
                  <a:lnTo>
                    <a:pt x="526" y="473"/>
                  </a:lnTo>
                  <a:lnTo>
                    <a:pt x="344" y="609"/>
                  </a:lnTo>
                  <a:lnTo>
                    <a:pt x="311" y="701"/>
                  </a:lnTo>
                  <a:lnTo>
                    <a:pt x="185" y="707"/>
                  </a:lnTo>
                  <a:lnTo>
                    <a:pt x="153" y="614"/>
                  </a:lnTo>
                  <a:lnTo>
                    <a:pt x="56" y="621"/>
                  </a:lnTo>
                  <a:lnTo>
                    <a:pt x="60" y="591"/>
                  </a:lnTo>
                  <a:lnTo>
                    <a:pt x="0" y="5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2"/>
            <p:cNvSpPr>
              <a:spLocks/>
            </p:cNvSpPr>
            <p:nvPr/>
          </p:nvSpPr>
          <p:spPr bwMode="auto">
            <a:xfrm>
              <a:off x="4164013" y="3195638"/>
              <a:ext cx="195263" cy="136525"/>
            </a:xfrm>
            <a:custGeom>
              <a:avLst/>
              <a:gdLst>
                <a:gd name="T0" fmla="*/ 205 w 370"/>
                <a:gd name="T1" fmla="*/ 5 h 258"/>
                <a:gd name="T2" fmla="*/ 268 w 370"/>
                <a:gd name="T3" fmla="*/ 0 h 258"/>
                <a:gd name="T4" fmla="*/ 370 w 370"/>
                <a:gd name="T5" fmla="*/ 144 h 258"/>
                <a:gd name="T6" fmla="*/ 275 w 370"/>
                <a:gd name="T7" fmla="*/ 216 h 258"/>
                <a:gd name="T8" fmla="*/ 206 w 370"/>
                <a:gd name="T9" fmla="*/ 199 h 258"/>
                <a:gd name="T10" fmla="*/ 114 w 370"/>
                <a:gd name="T11" fmla="*/ 200 h 258"/>
                <a:gd name="T12" fmla="*/ 100 w 370"/>
                <a:gd name="T13" fmla="*/ 254 h 258"/>
                <a:gd name="T14" fmla="*/ 22 w 370"/>
                <a:gd name="T15" fmla="*/ 258 h 258"/>
                <a:gd name="T16" fmla="*/ 0 w 370"/>
                <a:gd name="T17" fmla="*/ 228 h 258"/>
                <a:gd name="T18" fmla="*/ 28 w 370"/>
                <a:gd name="T19" fmla="*/ 140 h 258"/>
                <a:gd name="T20" fmla="*/ 205 w 370"/>
                <a:gd name="T21" fmla="*/ 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0" h="258">
                  <a:moveTo>
                    <a:pt x="205" y="5"/>
                  </a:moveTo>
                  <a:lnTo>
                    <a:pt x="268" y="0"/>
                  </a:lnTo>
                  <a:lnTo>
                    <a:pt x="370" y="144"/>
                  </a:lnTo>
                  <a:lnTo>
                    <a:pt x="275" y="216"/>
                  </a:lnTo>
                  <a:lnTo>
                    <a:pt x="206" y="199"/>
                  </a:lnTo>
                  <a:lnTo>
                    <a:pt x="114" y="200"/>
                  </a:lnTo>
                  <a:lnTo>
                    <a:pt x="100" y="254"/>
                  </a:lnTo>
                  <a:lnTo>
                    <a:pt x="22" y="258"/>
                  </a:lnTo>
                  <a:lnTo>
                    <a:pt x="0" y="228"/>
                  </a:lnTo>
                  <a:lnTo>
                    <a:pt x="28" y="140"/>
                  </a:lnTo>
                  <a:lnTo>
                    <a:pt x="205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"/>
            <p:cNvSpPr>
              <a:spLocks/>
            </p:cNvSpPr>
            <p:nvPr/>
          </p:nvSpPr>
          <p:spPr bwMode="auto">
            <a:xfrm>
              <a:off x="4316413" y="2968625"/>
              <a:ext cx="385763" cy="298450"/>
            </a:xfrm>
            <a:custGeom>
              <a:avLst/>
              <a:gdLst>
                <a:gd name="T0" fmla="*/ 95 w 730"/>
                <a:gd name="T1" fmla="*/ 565 h 565"/>
                <a:gd name="T2" fmla="*/ 139 w 730"/>
                <a:gd name="T3" fmla="*/ 564 h 565"/>
                <a:gd name="T4" fmla="*/ 178 w 730"/>
                <a:gd name="T5" fmla="*/ 505 h 565"/>
                <a:gd name="T6" fmla="*/ 244 w 730"/>
                <a:gd name="T7" fmla="*/ 493 h 565"/>
                <a:gd name="T8" fmla="*/ 314 w 730"/>
                <a:gd name="T9" fmla="*/ 537 h 565"/>
                <a:gd name="T10" fmla="*/ 464 w 730"/>
                <a:gd name="T11" fmla="*/ 541 h 565"/>
                <a:gd name="T12" fmla="*/ 581 w 730"/>
                <a:gd name="T13" fmla="*/ 493 h 565"/>
                <a:gd name="T14" fmla="*/ 625 w 730"/>
                <a:gd name="T15" fmla="*/ 455 h 565"/>
                <a:gd name="T16" fmla="*/ 628 w 730"/>
                <a:gd name="T17" fmla="*/ 407 h 565"/>
                <a:gd name="T18" fmla="*/ 709 w 730"/>
                <a:gd name="T19" fmla="*/ 324 h 565"/>
                <a:gd name="T20" fmla="*/ 730 w 730"/>
                <a:gd name="T21" fmla="*/ 145 h 565"/>
                <a:gd name="T22" fmla="*/ 676 w 730"/>
                <a:gd name="T23" fmla="*/ 33 h 565"/>
                <a:gd name="T24" fmla="*/ 540 w 730"/>
                <a:gd name="T25" fmla="*/ 0 h 565"/>
                <a:gd name="T26" fmla="*/ 225 w 730"/>
                <a:gd name="T27" fmla="*/ 245 h 565"/>
                <a:gd name="T28" fmla="*/ 180 w 730"/>
                <a:gd name="T29" fmla="*/ 241 h 565"/>
                <a:gd name="T30" fmla="*/ 161 w 730"/>
                <a:gd name="T31" fmla="*/ 412 h 565"/>
                <a:gd name="T32" fmla="*/ 0 w 730"/>
                <a:gd name="T33" fmla="*/ 428 h 565"/>
                <a:gd name="T34" fmla="*/ 95 w 730"/>
                <a:gd name="T35" fmla="*/ 56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0" h="565">
                  <a:moveTo>
                    <a:pt x="95" y="565"/>
                  </a:moveTo>
                  <a:lnTo>
                    <a:pt x="139" y="564"/>
                  </a:lnTo>
                  <a:lnTo>
                    <a:pt x="178" y="505"/>
                  </a:lnTo>
                  <a:lnTo>
                    <a:pt x="244" y="493"/>
                  </a:lnTo>
                  <a:lnTo>
                    <a:pt x="314" y="537"/>
                  </a:lnTo>
                  <a:lnTo>
                    <a:pt x="464" y="541"/>
                  </a:lnTo>
                  <a:lnTo>
                    <a:pt x="581" y="493"/>
                  </a:lnTo>
                  <a:lnTo>
                    <a:pt x="625" y="455"/>
                  </a:lnTo>
                  <a:lnTo>
                    <a:pt x="628" y="407"/>
                  </a:lnTo>
                  <a:lnTo>
                    <a:pt x="709" y="324"/>
                  </a:lnTo>
                  <a:lnTo>
                    <a:pt x="730" y="145"/>
                  </a:lnTo>
                  <a:lnTo>
                    <a:pt x="676" y="33"/>
                  </a:lnTo>
                  <a:lnTo>
                    <a:pt x="540" y="0"/>
                  </a:lnTo>
                  <a:lnTo>
                    <a:pt x="225" y="245"/>
                  </a:lnTo>
                  <a:lnTo>
                    <a:pt x="180" y="241"/>
                  </a:lnTo>
                  <a:lnTo>
                    <a:pt x="161" y="412"/>
                  </a:lnTo>
                  <a:lnTo>
                    <a:pt x="0" y="428"/>
                  </a:lnTo>
                  <a:lnTo>
                    <a:pt x="95" y="5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4"/>
            <p:cNvSpPr>
              <a:spLocks/>
            </p:cNvSpPr>
            <p:nvPr/>
          </p:nvSpPr>
          <p:spPr bwMode="auto">
            <a:xfrm>
              <a:off x="4216400" y="3306763"/>
              <a:ext cx="90488" cy="163513"/>
            </a:xfrm>
            <a:custGeom>
              <a:avLst/>
              <a:gdLst>
                <a:gd name="T0" fmla="*/ 0 w 172"/>
                <a:gd name="T1" fmla="*/ 183 h 307"/>
                <a:gd name="T2" fmla="*/ 19 w 172"/>
                <a:gd name="T3" fmla="*/ 228 h 307"/>
                <a:gd name="T4" fmla="*/ 69 w 172"/>
                <a:gd name="T5" fmla="*/ 307 h 307"/>
                <a:gd name="T6" fmla="*/ 96 w 172"/>
                <a:gd name="T7" fmla="*/ 306 h 307"/>
                <a:gd name="T8" fmla="*/ 172 w 172"/>
                <a:gd name="T9" fmla="*/ 262 h 307"/>
                <a:gd name="T10" fmla="*/ 167 w 172"/>
                <a:gd name="T11" fmla="*/ 17 h 307"/>
                <a:gd name="T12" fmla="*/ 108 w 172"/>
                <a:gd name="T13" fmla="*/ 0 h 307"/>
                <a:gd name="T14" fmla="*/ 26 w 172"/>
                <a:gd name="T15" fmla="*/ 3 h 307"/>
                <a:gd name="T16" fmla="*/ 0 w 172"/>
                <a:gd name="T17" fmla="*/ 18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307">
                  <a:moveTo>
                    <a:pt x="0" y="183"/>
                  </a:moveTo>
                  <a:lnTo>
                    <a:pt x="19" y="228"/>
                  </a:lnTo>
                  <a:lnTo>
                    <a:pt x="69" y="307"/>
                  </a:lnTo>
                  <a:lnTo>
                    <a:pt x="96" y="306"/>
                  </a:lnTo>
                  <a:lnTo>
                    <a:pt x="172" y="262"/>
                  </a:lnTo>
                  <a:lnTo>
                    <a:pt x="167" y="17"/>
                  </a:lnTo>
                  <a:lnTo>
                    <a:pt x="108" y="0"/>
                  </a:lnTo>
                  <a:lnTo>
                    <a:pt x="26" y="3"/>
                  </a:lnTo>
                  <a:lnTo>
                    <a:pt x="0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"/>
            <p:cNvSpPr>
              <a:spLocks/>
            </p:cNvSpPr>
            <p:nvPr/>
          </p:nvSpPr>
          <p:spPr bwMode="auto">
            <a:xfrm>
              <a:off x="4311650" y="3308350"/>
              <a:ext cx="26988" cy="133350"/>
            </a:xfrm>
            <a:custGeom>
              <a:avLst/>
              <a:gdLst>
                <a:gd name="T0" fmla="*/ 4 w 50"/>
                <a:gd name="T1" fmla="*/ 253 h 253"/>
                <a:gd name="T2" fmla="*/ 50 w 50"/>
                <a:gd name="T3" fmla="*/ 226 h 253"/>
                <a:gd name="T4" fmla="*/ 49 w 50"/>
                <a:gd name="T5" fmla="*/ 49 h 253"/>
                <a:gd name="T6" fmla="*/ 20 w 50"/>
                <a:gd name="T7" fmla="*/ 0 h 253"/>
                <a:gd name="T8" fmla="*/ 0 w 50"/>
                <a:gd name="T9" fmla="*/ 16 h 253"/>
                <a:gd name="T10" fmla="*/ 4 w 50"/>
                <a:gd name="T11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53">
                  <a:moveTo>
                    <a:pt x="4" y="253"/>
                  </a:moveTo>
                  <a:lnTo>
                    <a:pt x="50" y="226"/>
                  </a:lnTo>
                  <a:lnTo>
                    <a:pt x="49" y="49"/>
                  </a:lnTo>
                  <a:lnTo>
                    <a:pt x="20" y="0"/>
                  </a:lnTo>
                  <a:lnTo>
                    <a:pt x="0" y="16"/>
                  </a:lnTo>
                  <a:lnTo>
                    <a:pt x="4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6"/>
            <p:cNvSpPr>
              <a:spLocks/>
            </p:cNvSpPr>
            <p:nvPr/>
          </p:nvSpPr>
          <p:spPr bwMode="auto">
            <a:xfrm>
              <a:off x="4330700" y="3275013"/>
              <a:ext cx="60325" cy="150813"/>
            </a:xfrm>
            <a:custGeom>
              <a:avLst/>
              <a:gdLst>
                <a:gd name="T0" fmla="*/ 30 w 115"/>
                <a:gd name="T1" fmla="*/ 286 h 286"/>
                <a:gd name="T2" fmla="*/ 67 w 115"/>
                <a:gd name="T3" fmla="*/ 286 h 286"/>
                <a:gd name="T4" fmla="*/ 69 w 115"/>
                <a:gd name="T5" fmla="*/ 184 h 286"/>
                <a:gd name="T6" fmla="*/ 115 w 115"/>
                <a:gd name="T7" fmla="*/ 117 h 286"/>
                <a:gd name="T8" fmla="*/ 113 w 115"/>
                <a:gd name="T9" fmla="*/ 1 h 286"/>
                <a:gd name="T10" fmla="*/ 71 w 115"/>
                <a:gd name="T11" fmla="*/ 0 h 286"/>
                <a:gd name="T12" fmla="*/ 0 w 115"/>
                <a:gd name="T13" fmla="*/ 56 h 286"/>
                <a:gd name="T14" fmla="*/ 29 w 115"/>
                <a:gd name="T15" fmla="*/ 113 h 286"/>
                <a:gd name="T16" fmla="*/ 30 w 115"/>
                <a:gd name="T17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286">
                  <a:moveTo>
                    <a:pt x="30" y="286"/>
                  </a:moveTo>
                  <a:lnTo>
                    <a:pt x="67" y="286"/>
                  </a:lnTo>
                  <a:lnTo>
                    <a:pt x="69" y="184"/>
                  </a:lnTo>
                  <a:lnTo>
                    <a:pt x="115" y="117"/>
                  </a:lnTo>
                  <a:lnTo>
                    <a:pt x="113" y="1"/>
                  </a:lnTo>
                  <a:lnTo>
                    <a:pt x="71" y="0"/>
                  </a:lnTo>
                  <a:lnTo>
                    <a:pt x="0" y="56"/>
                  </a:lnTo>
                  <a:lnTo>
                    <a:pt x="29" y="113"/>
                  </a:lnTo>
                  <a:lnTo>
                    <a:pt x="30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7"/>
            <p:cNvSpPr>
              <a:spLocks/>
            </p:cNvSpPr>
            <p:nvPr/>
          </p:nvSpPr>
          <p:spPr bwMode="auto">
            <a:xfrm>
              <a:off x="4371975" y="3235325"/>
              <a:ext cx="285750" cy="244475"/>
            </a:xfrm>
            <a:custGeom>
              <a:avLst/>
              <a:gdLst>
                <a:gd name="T0" fmla="*/ 0 w 541"/>
                <a:gd name="T1" fmla="*/ 358 h 463"/>
                <a:gd name="T2" fmla="*/ 68 w 541"/>
                <a:gd name="T3" fmla="*/ 362 h 463"/>
                <a:gd name="T4" fmla="*/ 148 w 541"/>
                <a:gd name="T5" fmla="*/ 452 h 463"/>
                <a:gd name="T6" fmla="*/ 188 w 541"/>
                <a:gd name="T7" fmla="*/ 463 h 463"/>
                <a:gd name="T8" fmla="*/ 219 w 541"/>
                <a:gd name="T9" fmla="*/ 448 h 463"/>
                <a:gd name="T10" fmla="*/ 266 w 541"/>
                <a:gd name="T11" fmla="*/ 442 h 463"/>
                <a:gd name="T12" fmla="*/ 281 w 541"/>
                <a:gd name="T13" fmla="*/ 376 h 463"/>
                <a:gd name="T14" fmla="*/ 345 w 541"/>
                <a:gd name="T15" fmla="*/ 334 h 463"/>
                <a:gd name="T16" fmla="*/ 415 w 541"/>
                <a:gd name="T17" fmla="*/ 331 h 463"/>
                <a:gd name="T18" fmla="*/ 541 w 541"/>
                <a:gd name="T19" fmla="*/ 98 h 463"/>
                <a:gd name="T20" fmla="*/ 539 w 541"/>
                <a:gd name="T21" fmla="*/ 45 h 463"/>
                <a:gd name="T22" fmla="*/ 481 w 541"/>
                <a:gd name="T23" fmla="*/ 0 h 463"/>
                <a:gd name="T24" fmla="*/ 363 w 541"/>
                <a:gd name="T25" fmla="*/ 52 h 463"/>
                <a:gd name="T26" fmla="*/ 207 w 541"/>
                <a:gd name="T27" fmla="*/ 49 h 463"/>
                <a:gd name="T28" fmla="*/ 132 w 541"/>
                <a:gd name="T29" fmla="*/ 2 h 463"/>
                <a:gd name="T30" fmla="*/ 79 w 541"/>
                <a:gd name="T31" fmla="*/ 14 h 463"/>
                <a:gd name="T32" fmla="*/ 52 w 541"/>
                <a:gd name="T33" fmla="*/ 62 h 463"/>
                <a:gd name="T34" fmla="*/ 49 w 541"/>
                <a:gd name="T35" fmla="*/ 198 h 463"/>
                <a:gd name="T36" fmla="*/ 4 w 541"/>
                <a:gd name="T37" fmla="*/ 262 h 463"/>
                <a:gd name="T38" fmla="*/ 0 w 541"/>
                <a:gd name="T39" fmla="*/ 35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1" h="463">
                  <a:moveTo>
                    <a:pt x="0" y="358"/>
                  </a:moveTo>
                  <a:lnTo>
                    <a:pt x="68" y="362"/>
                  </a:lnTo>
                  <a:lnTo>
                    <a:pt x="148" y="452"/>
                  </a:lnTo>
                  <a:lnTo>
                    <a:pt x="188" y="463"/>
                  </a:lnTo>
                  <a:lnTo>
                    <a:pt x="219" y="448"/>
                  </a:lnTo>
                  <a:lnTo>
                    <a:pt x="266" y="442"/>
                  </a:lnTo>
                  <a:lnTo>
                    <a:pt x="281" y="376"/>
                  </a:lnTo>
                  <a:lnTo>
                    <a:pt x="345" y="334"/>
                  </a:lnTo>
                  <a:lnTo>
                    <a:pt x="415" y="331"/>
                  </a:lnTo>
                  <a:lnTo>
                    <a:pt x="541" y="98"/>
                  </a:lnTo>
                  <a:lnTo>
                    <a:pt x="539" y="45"/>
                  </a:lnTo>
                  <a:lnTo>
                    <a:pt x="481" y="0"/>
                  </a:lnTo>
                  <a:lnTo>
                    <a:pt x="363" y="52"/>
                  </a:lnTo>
                  <a:lnTo>
                    <a:pt x="207" y="49"/>
                  </a:lnTo>
                  <a:lnTo>
                    <a:pt x="132" y="2"/>
                  </a:lnTo>
                  <a:lnTo>
                    <a:pt x="79" y="14"/>
                  </a:lnTo>
                  <a:lnTo>
                    <a:pt x="52" y="62"/>
                  </a:lnTo>
                  <a:lnTo>
                    <a:pt x="49" y="198"/>
                  </a:lnTo>
                  <a:lnTo>
                    <a:pt x="4" y="262"/>
                  </a:lnTo>
                  <a:lnTo>
                    <a:pt x="0" y="3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8"/>
            <p:cNvSpPr>
              <a:spLocks/>
            </p:cNvSpPr>
            <p:nvPr/>
          </p:nvSpPr>
          <p:spPr bwMode="auto">
            <a:xfrm>
              <a:off x="4491038" y="2570163"/>
              <a:ext cx="96838" cy="201613"/>
            </a:xfrm>
            <a:custGeom>
              <a:avLst/>
              <a:gdLst>
                <a:gd name="T0" fmla="*/ 3 w 182"/>
                <a:gd name="T1" fmla="*/ 38 h 381"/>
                <a:gd name="T2" fmla="*/ 99 w 182"/>
                <a:gd name="T3" fmla="*/ 0 h 381"/>
                <a:gd name="T4" fmla="*/ 130 w 182"/>
                <a:gd name="T5" fmla="*/ 21 h 381"/>
                <a:gd name="T6" fmla="*/ 131 w 182"/>
                <a:gd name="T7" fmla="*/ 45 h 381"/>
                <a:gd name="T8" fmla="*/ 116 w 182"/>
                <a:gd name="T9" fmla="*/ 64 h 381"/>
                <a:gd name="T10" fmla="*/ 119 w 182"/>
                <a:gd name="T11" fmla="*/ 98 h 381"/>
                <a:gd name="T12" fmla="*/ 133 w 182"/>
                <a:gd name="T13" fmla="*/ 106 h 381"/>
                <a:gd name="T14" fmla="*/ 133 w 182"/>
                <a:gd name="T15" fmla="*/ 166 h 381"/>
                <a:gd name="T16" fmla="*/ 116 w 182"/>
                <a:gd name="T17" fmla="*/ 194 h 381"/>
                <a:gd name="T18" fmla="*/ 119 w 182"/>
                <a:gd name="T19" fmla="*/ 213 h 381"/>
                <a:gd name="T20" fmla="*/ 182 w 182"/>
                <a:gd name="T21" fmla="*/ 235 h 381"/>
                <a:gd name="T22" fmla="*/ 131 w 182"/>
                <a:gd name="T23" fmla="*/ 314 h 381"/>
                <a:gd name="T24" fmla="*/ 111 w 182"/>
                <a:gd name="T25" fmla="*/ 313 h 381"/>
                <a:gd name="T26" fmla="*/ 108 w 182"/>
                <a:gd name="T27" fmla="*/ 377 h 381"/>
                <a:gd name="T28" fmla="*/ 86 w 182"/>
                <a:gd name="T29" fmla="*/ 381 h 381"/>
                <a:gd name="T30" fmla="*/ 66 w 182"/>
                <a:gd name="T31" fmla="*/ 364 h 381"/>
                <a:gd name="T32" fmla="*/ 70 w 182"/>
                <a:gd name="T33" fmla="*/ 299 h 381"/>
                <a:gd name="T34" fmla="*/ 8 w 182"/>
                <a:gd name="T35" fmla="*/ 238 h 381"/>
                <a:gd name="T36" fmla="*/ 0 w 182"/>
                <a:gd name="T37" fmla="*/ 185 h 381"/>
                <a:gd name="T38" fmla="*/ 31 w 182"/>
                <a:gd name="T39" fmla="*/ 162 h 381"/>
                <a:gd name="T40" fmla="*/ 3 w 182"/>
                <a:gd name="T41" fmla="*/ 38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2" h="381">
                  <a:moveTo>
                    <a:pt x="3" y="38"/>
                  </a:moveTo>
                  <a:lnTo>
                    <a:pt x="99" y="0"/>
                  </a:lnTo>
                  <a:lnTo>
                    <a:pt x="130" y="21"/>
                  </a:lnTo>
                  <a:lnTo>
                    <a:pt x="131" y="45"/>
                  </a:lnTo>
                  <a:lnTo>
                    <a:pt x="116" y="64"/>
                  </a:lnTo>
                  <a:lnTo>
                    <a:pt x="119" y="98"/>
                  </a:lnTo>
                  <a:lnTo>
                    <a:pt x="133" y="106"/>
                  </a:lnTo>
                  <a:lnTo>
                    <a:pt x="133" y="166"/>
                  </a:lnTo>
                  <a:lnTo>
                    <a:pt x="116" y="194"/>
                  </a:lnTo>
                  <a:lnTo>
                    <a:pt x="119" y="213"/>
                  </a:lnTo>
                  <a:lnTo>
                    <a:pt x="182" y="235"/>
                  </a:lnTo>
                  <a:lnTo>
                    <a:pt x="131" y="314"/>
                  </a:lnTo>
                  <a:lnTo>
                    <a:pt x="111" y="313"/>
                  </a:lnTo>
                  <a:lnTo>
                    <a:pt x="108" y="377"/>
                  </a:lnTo>
                  <a:lnTo>
                    <a:pt x="86" y="381"/>
                  </a:lnTo>
                  <a:lnTo>
                    <a:pt x="66" y="364"/>
                  </a:lnTo>
                  <a:lnTo>
                    <a:pt x="70" y="299"/>
                  </a:lnTo>
                  <a:lnTo>
                    <a:pt x="8" y="238"/>
                  </a:lnTo>
                  <a:lnTo>
                    <a:pt x="0" y="185"/>
                  </a:lnTo>
                  <a:lnTo>
                    <a:pt x="31" y="162"/>
                  </a:lnTo>
                  <a:lnTo>
                    <a:pt x="3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9"/>
            <p:cNvSpPr>
              <a:spLocks/>
            </p:cNvSpPr>
            <p:nvPr/>
          </p:nvSpPr>
          <p:spPr bwMode="auto">
            <a:xfrm>
              <a:off x="4538663" y="2695575"/>
              <a:ext cx="377825" cy="371475"/>
            </a:xfrm>
            <a:custGeom>
              <a:avLst/>
              <a:gdLst>
                <a:gd name="T0" fmla="*/ 1 w 714"/>
                <a:gd name="T1" fmla="*/ 155 h 700"/>
                <a:gd name="T2" fmla="*/ 28 w 714"/>
                <a:gd name="T3" fmla="*/ 151 h 700"/>
                <a:gd name="T4" fmla="*/ 35 w 714"/>
                <a:gd name="T5" fmla="*/ 89 h 700"/>
                <a:gd name="T6" fmla="*/ 48 w 714"/>
                <a:gd name="T7" fmla="*/ 89 h 700"/>
                <a:gd name="T8" fmla="*/ 103 w 714"/>
                <a:gd name="T9" fmla="*/ 0 h 700"/>
                <a:gd name="T10" fmla="*/ 238 w 714"/>
                <a:gd name="T11" fmla="*/ 40 h 700"/>
                <a:gd name="T12" fmla="*/ 275 w 714"/>
                <a:gd name="T13" fmla="*/ 96 h 700"/>
                <a:gd name="T14" fmla="*/ 408 w 714"/>
                <a:gd name="T15" fmla="*/ 157 h 700"/>
                <a:gd name="T16" fmla="*/ 477 w 714"/>
                <a:gd name="T17" fmla="*/ 128 h 700"/>
                <a:gd name="T18" fmla="*/ 470 w 714"/>
                <a:gd name="T19" fmla="*/ 98 h 700"/>
                <a:gd name="T20" fmla="*/ 440 w 714"/>
                <a:gd name="T21" fmla="*/ 70 h 700"/>
                <a:gd name="T22" fmla="*/ 443 w 714"/>
                <a:gd name="T23" fmla="*/ 50 h 700"/>
                <a:gd name="T24" fmla="*/ 492 w 714"/>
                <a:gd name="T25" fmla="*/ 8 h 700"/>
                <a:gd name="T26" fmla="*/ 589 w 714"/>
                <a:gd name="T27" fmla="*/ 8 h 700"/>
                <a:gd name="T28" fmla="*/ 626 w 714"/>
                <a:gd name="T29" fmla="*/ 57 h 700"/>
                <a:gd name="T30" fmla="*/ 704 w 714"/>
                <a:gd name="T31" fmla="*/ 69 h 700"/>
                <a:gd name="T32" fmla="*/ 714 w 714"/>
                <a:gd name="T33" fmla="*/ 700 h 700"/>
                <a:gd name="T34" fmla="*/ 656 w 714"/>
                <a:gd name="T35" fmla="*/ 698 h 700"/>
                <a:gd name="T36" fmla="*/ 306 w 714"/>
                <a:gd name="T37" fmla="*/ 517 h 700"/>
                <a:gd name="T38" fmla="*/ 269 w 714"/>
                <a:gd name="T39" fmla="*/ 538 h 700"/>
                <a:gd name="T40" fmla="*/ 125 w 714"/>
                <a:gd name="T41" fmla="*/ 501 h 700"/>
                <a:gd name="T42" fmla="*/ 86 w 714"/>
                <a:gd name="T43" fmla="*/ 451 h 700"/>
                <a:gd name="T44" fmla="*/ 29 w 714"/>
                <a:gd name="T45" fmla="*/ 443 h 700"/>
                <a:gd name="T46" fmla="*/ 0 w 714"/>
                <a:gd name="T47" fmla="*/ 391 h 700"/>
                <a:gd name="T48" fmla="*/ 1 w 714"/>
                <a:gd name="T49" fmla="*/ 155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14" h="700">
                  <a:moveTo>
                    <a:pt x="1" y="155"/>
                  </a:moveTo>
                  <a:lnTo>
                    <a:pt x="28" y="151"/>
                  </a:lnTo>
                  <a:lnTo>
                    <a:pt x="35" y="89"/>
                  </a:lnTo>
                  <a:lnTo>
                    <a:pt x="48" y="89"/>
                  </a:lnTo>
                  <a:lnTo>
                    <a:pt x="103" y="0"/>
                  </a:lnTo>
                  <a:lnTo>
                    <a:pt x="238" y="40"/>
                  </a:lnTo>
                  <a:lnTo>
                    <a:pt x="275" y="96"/>
                  </a:lnTo>
                  <a:lnTo>
                    <a:pt x="408" y="157"/>
                  </a:lnTo>
                  <a:lnTo>
                    <a:pt x="477" y="128"/>
                  </a:lnTo>
                  <a:lnTo>
                    <a:pt x="470" y="98"/>
                  </a:lnTo>
                  <a:lnTo>
                    <a:pt x="440" y="70"/>
                  </a:lnTo>
                  <a:lnTo>
                    <a:pt x="443" y="50"/>
                  </a:lnTo>
                  <a:lnTo>
                    <a:pt x="492" y="8"/>
                  </a:lnTo>
                  <a:lnTo>
                    <a:pt x="589" y="8"/>
                  </a:lnTo>
                  <a:lnTo>
                    <a:pt x="626" y="57"/>
                  </a:lnTo>
                  <a:lnTo>
                    <a:pt x="704" y="69"/>
                  </a:lnTo>
                  <a:lnTo>
                    <a:pt x="714" y="700"/>
                  </a:lnTo>
                  <a:lnTo>
                    <a:pt x="656" y="698"/>
                  </a:lnTo>
                  <a:lnTo>
                    <a:pt x="306" y="517"/>
                  </a:lnTo>
                  <a:lnTo>
                    <a:pt x="269" y="538"/>
                  </a:lnTo>
                  <a:lnTo>
                    <a:pt x="125" y="501"/>
                  </a:lnTo>
                  <a:lnTo>
                    <a:pt x="86" y="451"/>
                  </a:lnTo>
                  <a:lnTo>
                    <a:pt x="29" y="443"/>
                  </a:lnTo>
                  <a:lnTo>
                    <a:pt x="0" y="391"/>
                  </a:lnTo>
                  <a:lnTo>
                    <a:pt x="1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0"/>
            <p:cNvSpPr>
              <a:spLocks/>
            </p:cNvSpPr>
            <p:nvPr/>
          </p:nvSpPr>
          <p:spPr bwMode="auto">
            <a:xfrm>
              <a:off x="4919663" y="2724150"/>
              <a:ext cx="260350" cy="284163"/>
            </a:xfrm>
            <a:custGeom>
              <a:avLst/>
              <a:gdLst>
                <a:gd name="T0" fmla="*/ 0 w 493"/>
                <a:gd name="T1" fmla="*/ 17 h 535"/>
                <a:gd name="T2" fmla="*/ 46 w 493"/>
                <a:gd name="T3" fmla="*/ 18 h 535"/>
                <a:gd name="T4" fmla="*/ 135 w 493"/>
                <a:gd name="T5" fmla="*/ 42 h 535"/>
                <a:gd name="T6" fmla="*/ 177 w 493"/>
                <a:gd name="T7" fmla="*/ 43 h 535"/>
                <a:gd name="T8" fmla="*/ 230 w 493"/>
                <a:gd name="T9" fmla="*/ 0 h 535"/>
                <a:gd name="T10" fmla="*/ 254 w 493"/>
                <a:gd name="T11" fmla="*/ 0 h 535"/>
                <a:gd name="T12" fmla="*/ 299 w 493"/>
                <a:gd name="T13" fmla="*/ 24 h 535"/>
                <a:gd name="T14" fmla="*/ 354 w 493"/>
                <a:gd name="T15" fmla="*/ 24 h 535"/>
                <a:gd name="T16" fmla="*/ 365 w 493"/>
                <a:gd name="T17" fmla="*/ 24 h 535"/>
                <a:gd name="T18" fmla="*/ 401 w 493"/>
                <a:gd name="T19" fmla="*/ 127 h 535"/>
                <a:gd name="T20" fmla="*/ 410 w 493"/>
                <a:gd name="T21" fmla="*/ 159 h 535"/>
                <a:gd name="T22" fmla="*/ 420 w 493"/>
                <a:gd name="T23" fmla="*/ 209 h 535"/>
                <a:gd name="T24" fmla="*/ 403 w 493"/>
                <a:gd name="T25" fmla="*/ 221 h 535"/>
                <a:gd name="T26" fmla="*/ 375 w 493"/>
                <a:gd name="T27" fmla="*/ 207 h 535"/>
                <a:gd name="T28" fmla="*/ 341 w 493"/>
                <a:gd name="T29" fmla="*/ 97 h 535"/>
                <a:gd name="T30" fmla="*/ 311 w 493"/>
                <a:gd name="T31" fmla="*/ 95 h 535"/>
                <a:gd name="T32" fmla="*/ 309 w 493"/>
                <a:gd name="T33" fmla="*/ 133 h 535"/>
                <a:gd name="T34" fmla="*/ 329 w 493"/>
                <a:gd name="T35" fmla="*/ 197 h 535"/>
                <a:gd name="T36" fmla="*/ 489 w 493"/>
                <a:gd name="T37" fmla="*/ 396 h 535"/>
                <a:gd name="T38" fmla="*/ 493 w 493"/>
                <a:gd name="T39" fmla="*/ 481 h 535"/>
                <a:gd name="T40" fmla="*/ 446 w 493"/>
                <a:gd name="T41" fmla="*/ 535 h 535"/>
                <a:gd name="T42" fmla="*/ 6 w 493"/>
                <a:gd name="T43" fmla="*/ 530 h 535"/>
                <a:gd name="T44" fmla="*/ 0 w 493"/>
                <a:gd name="T45" fmla="*/ 1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3" h="535">
                  <a:moveTo>
                    <a:pt x="0" y="17"/>
                  </a:moveTo>
                  <a:lnTo>
                    <a:pt x="46" y="18"/>
                  </a:lnTo>
                  <a:lnTo>
                    <a:pt x="135" y="42"/>
                  </a:lnTo>
                  <a:lnTo>
                    <a:pt x="177" y="43"/>
                  </a:lnTo>
                  <a:lnTo>
                    <a:pt x="230" y="0"/>
                  </a:lnTo>
                  <a:lnTo>
                    <a:pt x="254" y="0"/>
                  </a:lnTo>
                  <a:lnTo>
                    <a:pt x="299" y="24"/>
                  </a:lnTo>
                  <a:lnTo>
                    <a:pt x="354" y="24"/>
                  </a:lnTo>
                  <a:lnTo>
                    <a:pt x="365" y="24"/>
                  </a:lnTo>
                  <a:lnTo>
                    <a:pt x="401" y="127"/>
                  </a:lnTo>
                  <a:lnTo>
                    <a:pt x="410" y="159"/>
                  </a:lnTo>
                  <a:lnTo>
                    <a:pt x="420" y="209"/>
                  </a:lnTo>
                  <a:lnTo>
                    <a:pt x="403" y="221"/>
                  </a:lnTo>
                  <a:lnTo>
                    <a:pt x="375" y="207"/>
                  </a:lnTo>
                  <a:lnTo>
                    <a:pt x="341" y="97"/>
                  </a:lnTo>
                  <a:lnTo>
                    <a:pt x="311" y="95"/>
                  </a:lnTo>
                  <a:lnTo>
                    <a:pt x="309" y="133"/>
                  </a:lnTo>
                  <a:lnTo>
                    <a:pt x="329" y="197"/>
                  </a:lnTo>
                  <a:lnTo>
                    <a:pt x="489" y="396"/>
                  </a:lnTo>
                  <a:lnTo>
                    <a:pt x="493" y="481"/>
                  </a:lnTo>
                  <a:lnTo>
                    <a:pt x="446" y="535"/>
                  </a:lnTo>
                  <a:lnTo>
                    <a:pt x="6" y="530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1"/>
            <p:cNvSpPr>
              <a:spLocks/>
            </p:cNvSpPr>
            <p:nvPr/>
          </p:nvSpPr>
          <p:spPr bwMode="auto">
            <a:xfrm>
              <a:off x="4632325" y="2976563"/>
              <a:ext cx="263525" cy="417513"/>
            </a:xfrm>
            <a:custGeom>
              <a:avLst/>
              <a:gdLst>
                <a:gd name="T0" fmla="*/ 43 w 499"/>
                <a:gd name="T1" fmla="*/ 447 h 787"/>
                <a:gd name="T2" fmla="*/ 45 w 499"/>
                <a:gd name="T3" fmla="*/ 396 h 787"/>
                <a:gd name="T4" fmla="*/ 126 w 499"/>
                <a:gd name="T5" fmla="*/ 317 h 787"/>
                <a:gd name="T6" fmla="*/ 148 w 499"/>
                <a:gd name="T7" fmla="*/ 123 h 787"/>
                <a:gd name="T8" fmla="*/ 94 w 499"/>
                <a:gd name="T9" fmla="*/ 19 h 787"/>
                <a:gd name="T10" fmla="*/ 132 w 499"/>
                <a:gd name="T11" fmla="*/ 0 h 787"/>
                <a:gd name="T12" fmla="*/ 499 w 499"/>
                <a:gd name="T13" fmla="*/ 191 h 787"/>
                <a:gd name="T14" fmla="*/ 497 w 499"/>
                <a:gd name="T15" fmla="*/ 378 h 787"/>
                <a:gd name="T16" fmla="*/ 432 w 499"/>
                <a:gd name="T17" fmla="*/ 433 h 787"/>
                <a:gd name="T18" fmla="*/ 432 w 499"/>
                <a:gd name="T19" fmla="*/ 530 h 787"/>
                <a:gd name="T20" fmla="*/ 474 w 499"/>
                <a:gd name="T21" fmla="*/ 612 h 787"/>
                <a:gd name="T22" fmla="*/ 399 w 499"/>
                <a:gd name="T23" fmla="*/ 612 h 787"/>
                <a:gd name="T24" fmla="*/ 275 w 499"/>
                <a:gd name="T25" fmla="*/ 734 h 787"/>
                <a:gd name="T26" fmla="*/ 272 w 499"/>
                <a:gd name="T27" fmla="*/ 771 h 787"/>
                <a:gd name="T28" fmla="*/ 181 w 499"/>
                <a:gd name="T29" fmla="*/ 770 h 787"/>
                <a:gd name="T30" fmla="*/ 180 w 499"/>
                <a:gd name="T31" fmla="*/ 787 h 787"/>
                <a:gd name="T32" fmla="*/ 128 w 499"/>
                <a:gd name="T33" fmla="*/ 780 h 787"/>
                <a:gd name="T34" fmla="*/ 93 w 499"/>
                <a:gd name="T35" fmla="*/ 712 h 787"/>
                <a:gd name="T36" fmla="*/ 65 w 499"/>
                <a:gd name="T37" fmla="*/ 699 h 787"/>
                <a:gd name="T38" fmla="*/ 69 w 499"/>
                <a:gd name="T39" fmla="*/ 679 h 787"/>
                <a:gd name="T40" fmla="*/ 103 w 499"/>
                <a:gd name="T41" fmla="*/ 654 h 787"/>
                <a:gd name="T42" fmla="*/ 103 w 499"/>
                <a:gd name="T43" fmla="*/ 533 h 787"/>
                <a:gd name="T44" fmla="*/ 56 w 499"/>
                <a:gd name="T45" fmla="*/ 526 h 787"/>
                <a:gd name="T46" fmla="*/ 0 w 499"/>
                <a:gd name="T47" fmla="*/ 484 h 787"/>
                <a:gd name="T48" fmla="*/ 43 w 499"/>
                <a:gd name="T49" fmla="*/ 447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9" h="787">
                  <a:moveTo>
                    <a:pt x="43" y="447"/>
                  </a:moveTo>
                  <a:lnTo>
                    <a:pt x="45" y="396"/>
                  </a:lnTo>
                  <a:lnTo>
                    <a:pt x="126" y="317"/>
                  </a:lnTo>
                  <a:lnTo>
                    <a:pt x="148" y="123"/>
                  </a:lnTo>
                  <a:lnTo>
                    <a:pt x="94" y="19"/>
                  </a:lnTo>
                  <a:lnTo>
                    <a:pt x="132" y="0"/>
                  </a:lnTo>
                  <a:lnTo>
                    <a:pt x="499" y="191"/>
                  </a:lnTo>
                  <a:lnTo>
                    <a:pt x="497" y="378"/>
                  </a:lnTo>
                  <a:lnTo>
                    <a:pt x="432" y="433"/>
                  </a:lnTo>
                  <a:lnTo>
                    <a:pt x="432" y="530"/>
                  </a:lnTo>
                  <a:lnTo>
                    <a:pt x="474" y="612"/>
                  </a:lnTo>
                  <a:lnTo>
                    <a:pt x="399" y="612"/>
                  </a:lnTo>
                  <a:lnTo>
                    <a:pt x="275" y="734"/>
                  </a:lnTo>
                  <a:lnTo>
                    <a:pt x="272" y="771"/>
                  </a:lnTo>
                  <a:lnTo>
                    <a:pt x="181" y="770"/>
                  </a:lnTo>
                  <a:lnTo>
                    <a:pt x="180" y="787"/>
                  </a:lnTo>
                  <a:lnTo>
                    <a:pt x="128" y="780"/>
                  </a:lnTo>
                  <a:lnTo>
                    <a:pt x="93" y="712"/>
                  </a:lnTo>
                  <a:lnTo>
                    <a:pt x="65" y="699"/>
                  </a:lnTo>
                  <a:lnTo>
                    <a:pt x="69" y="679"/>
                  </a:lnTo>
                  <a:lnTo>
                    <a:pt x="103" y="654"/>
                  </a:lnTo>
                  <a:lnTo>
                    <a:pt x="103" y="533"/>
                  </a:lnTo>
                  <a:lnTo>
                    <a:pt x="56" y="526"/>
                  </a:lnTo>
                  <a:lnTo>
                    <a:pt x="0" y="484"/>
                  </a:lnTo>
                  <a:lnTo>
                    <a:pt x="43" y="4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2"/>
            <p:cNvSpPr>
              <a:spLocks/>
            </p:cNvSpPr>
            <p:nvPr/>
          </p:nvSpPr>
          <p:spPr bwMode="auto">
            <a:xfrm>
              <a:off x="4867275" y="2982913"/>
              <a:ext cx="396875" cy="503238"/>
            </a:xfrm>
            <a:custGeom>
              <a:avLst/>
              <a:gdLst>
                <a:gd name="T0" fmla="*/ 67 w 749"/>
                <a:gd name="T1" fmla="*/ 375 h 950"/>
                <a:gd name="T2" fmla="*/ 70 w 749"/>
                <a:gd name="T3" fmla="*/ 172 h 950"/>
                <a:gd name="T4" fmla="*/ 111 w 749"/>
                <a:gd name="T5" fmla="*/ 173 h 950"/>
                <a:gd name="T6" fmla="*/ 107 w 749"/>
                <a:gd name="T7" fmla="*/ 60 h 950"/>
                <a:gd name="T8" fmla="*/ 549 w 749"/>
                <a:gd name="T9" fmla="*/ 64 h 950"/>
                <a:gd name="T10" fmla="*/ 612 w 749"/>
                <a:gd name="T11" fmla="*/ 0 h 950"/>
                <a:gd name="T12" fmla="*/ 749 w 749"/>
                <a:gd name="T13" fmla="*/ 218 h 950"/>
                <a:gd name="T14" fmla="*/ 674 w 749"/>
                <a:gd name="T15" fmla="*/ 307 h 950"/>
                <a:gd name="T16" fmla="*/ 674 w 749"/>
                <a:gd name="T17" fmla="*/ 441 h 950"/>
                <a:gd name="T18" fmla="*/ 556 w 749"/>
                <a:gd name="T19" fmla="*/ 693 h 950"/>
                <a:gd name="T20" fmla="*/ 515 w 749"/>
                <a:gd name="T21" fmla="*/ 712 h 950"/>
                <a:gd name="T22" fmla="*/ 529 w 749"/>
                <a:gd name="T23" fmla="*/ 782 h 950"/>
                <a:gd name="T24" fmla="*/ 579 w 749"/>
                <a:gd name="T25" fmla="*/ 782 h 950"/>
                <a:gd name="T26" fmla="*/ 647 w 749"/>
                <a:gd name="T27" fmla="*/ 881 h 950"/>
                <a:gd name="T28" fmla="*/ 593 w 749"/>
                <a:gd name="T29" fmla="*/ 888 h 950"/>
                <a:gd name="T30" fmla="*/ 578 w 749"/>
                <a:gd name="T31" fmla="*/ 914 h 950"/>
                <a:gd name="T32" fmla="*/ 577 w 749"/>
                <a:gd name="T33" fmla="*/ 950 h 950"/>
                <a:gd name="T34" fmla="*/ 413 w 749"/>
                <a:gd name="T35" fmla="*/ 947 h 950"/>
                <a:gd name="T36" fmla="*/ 396 w 749"/>
                <a:gd name="T37" fmla="*/ 922 h 950"/>
                <a:gd name="T38" fmla="*/ 281 w 749"/>
                <a:gd name="T39" fmla="*/ 916 h 950"/>
                <a:gd name="T40" fmla="*/ 70 w 749"/>
                <a:gd name="T41" fmla="*/ 698 h 950"/>
                <a:gd name="T42" fmla="*/ 91 w 749"/>
                <a:gd name="T43" fmla="*/ 685 h 950"/>
                <a:gd name="T44" fmla="*/ 97 w 749"/>
                <a:gd name="T45" fmla="*/ 634 h 950"/>
                <a:gd name="T46" fmla="*/ 47 w 749"/>
                <a:gd name="T47" fmla="*/ 605 h 950"/>
                <a:gd name="T48" fmla="*/ 0 w 749"/>
                <a:gd name="T49" fmla="*/ 514 h 950"/>
                <a:gd name="T50" fmla="*/ 3 w 749"/>
                <a:gd name="T51" fmla="*/ 429 h 950"/>
                <a:gd name="T52" fmla="*/ 67 w 749"/>
                <a:gd name="T53" fmla="*/ 375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9" h="950">
                  <a:moveTo>
                    <a:pt x="67" y="375"/>
                  </a:moveTo>
                  <a:lnTo>
                    <a:pt x="70" y="172"/>
                  </a:lnTo>
                  <a:lnTo>
                    <a:pt x="111" y="173"/>
                  </a:lnTo>
                  <a:lnTo>
                    <a:pt x="107" y="60"/>
                  </a:lnTo>
                  <a:lnTo>
                    <a:pt x="549" y="64"/>
                  </a:lnTo>
                  <a:lnTo>
                    <a:pt x="612" y="0"/>
                  </a:lnTo>
                  <a:lnTo>
                    <a:pt x="749" y="218"/>
                  </a:lnTo>
                  <a:lnTo>
                    <a:pt x="674" y="307"/>
                  </a:lnTo>
                  <a:lnTo>
                    <a:pt x="674" y="441"/>
                  </a:lnTo>
                  <a:lnTo>
                    <a:pt x="556" y="693"/>
                  </a:lnTo>
                  <a:lnTo>
                    <a:pt x="515" y="712"/>
                  </a:lnTo>
                  <a:lnTo>
                    <a:pt x="529" y="782"/>
                  </a:lnTo>
                  <a:lnTo>
                    <a:pt x="579" y="782"/>
                  </a:lnTo>
                  <a:lnTo>
                    <a:pt x="647" y="881"/>
                  </a:lnTo>
                  <a:lnTo>
                    <a:pt x="593" y="888"/>
                  </a:lnTo>
                  <a:lnTo>
                    <a:pt x="578" y="914"/>
                  </a:lnTo>
                  <a:lnTo>
                    <a:pt x="577" y="950"/>
                  </a:lnTo>
                  <a:lnTo>
                    <a:pt x="413" y="947"/>
                  </a:lnTo>
                  <a:lnTo>
                    <a:pt x="396" y="922"/>
                  </a:lnTo>
                  <a:lnTo>
                    <a:pt x="281" y="916"/>
                  </a:lnTo>
                  <a:lnTo>
                    <a:pt x="70" y="698"/>
                  </a:lnTo>
                  <a:lnTo>
                    <a:pt x="91" y="685"/>
                  </a:lnTo>
                  <a:lnTo>
                    <a:pt x="97" y="634"/>
                  </a:lnTo>
                  <a:lnTo>
                    <a:pt x="47" y="605"/>
                  </a:lnTo>
                  <a:lnTo>
                    <a:pt x="0" y="514"/>
                  </a:lnTo>
                  <a:lnTo>
                    <a:pt x="3" y="429"/>
                  </a:lnTo>
                  <a:lnTo>
                    <a:pt x="67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3"/>
            <p:cNvSpPr>
              <a:spLocks/>
            </p:cNvSpPr>
            <p:nvPr/>
          </p:nvSpPr>
          <p:spPr bwMode="auto">
            <a:xfrm>
              <a:off x="4519613" y="3262313"/>
              <a:ext cx="200025" cy="276225"/>
            </a:xfrm>
            <a:custGeom>
              <a:avLst/>
              <a:gdLst>
                <a:gd name="T0" fmla="*/ 0 w 378"/>
                <a:gd name="T1" fmla="*/ 392 h 521"/>
                <a:gd name="T2" fmla="*/ 55 w 378"/>
                <a:gd name="T3" fmla="*/ 442 h 521"/>
                <a:gd name="T4" fmla="*/ 51 w 378"/>
                <a:gd name="T5" fmla="*/ 521 h 521"/>
                <a:gd name="T6" fmla="*/ 353 w 378"/>
                <a:gd name="T7" fmla="*/ 514 h 521"/>
                <a:gd name="T8" fmla="*/ 378 w 378"/>
                <a:gd name="T9" fmla="*/ 486 h 521"/>
                <a:gd name="T10" fmla="*/ 291 w 378"/>
                <a:gd name="T11" fmla="*/ 393 h 521"/>
                <a:gd name="T12" fmla="*/ 278 w 378"/>
                <a:gd name="T13" fmla="*/ 359 h 521"/>
                <a:gd name="T14" fmla="*/ 334 w 378"/>
                <a:gd name="T15" fmla="*/ 256 h 521"/>
                <a:gd name="T16" fmla="*/ 297 w 378"/>
                <a:gd name="T17" fmla="*/ 188 h 521"/>
                <a:gd name="T18" fmla="*/ 265 w 378"/>
                <a:gd name="T19" fmla="*/ 170 h 521"/>
                <a:gd name="T20" fmla="*/ 265 w 378"/>
                <a:gd name="T21" fmla="*/ 136 h 521"/>
                <a:gd name="T22" fmla="*/ 302 w 378"/>
                <a:gd name="T23" fmla="*/ 112 h 521"/>
                <a:gd name="T24" fmla="*/ 304 w 378"/>
                <a:gd name="T25" fmla="*/ 4 h 521"/>
                <a:gd name="T26" fmla="*/ 274 w 378"/>
                <a:gd name="T27" fmla="*/ 0 h 521"/>
                <a:gd name="T28" fmla="*/ 274 w 378"/>
                <a:gd name="T29" fmla="*/ 57 h 521"/>
                <a:gd name="T30" fmla="*/ 146 w 378"/>
                <a:gd name="T31" fmla="*/ 294 h 521"/>
                <a:gd name="T32" fmla="*/ 69 w 378"/>
                <a:gd name="T33" fmla="*/ 298 h 521"/>
                <a:gd name="T34" fmla="*/ 15 w 378"/>
                <a:gd name="T35" fmla="*/ 335 h 521"/>
                <a:gd name="T36" fmla="*/ 0 w 378"/>
                <a:gd name="T37" fmla="*/ 39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8" h="521">
                  <a:moveTo>
                    <a:pt x="0" y="392"/>
                  </a:moveTo>
                  <a:lnTo>
                    <a:pt x="55" y="442"/>
                  </a:lnTo>
                  <a:lnTo>
                    <a:pt x="51" y="521"/>
                  </a:lnTo>
                  <a:lnTo>
                    <a:pt x="353" y="514"/>
                  </a:lnTo>
                  <a:lnTo>
                    <a:pt x="378" y="486"/>
                  </a:lnTo>
                  <a:lnTo>
                    <a:pt x="291" y="393"/>
                  </a:lnTo>
                  <a:lnTo>
                    <a:pt x="278" y="359"/>
                  </a:lnTo>
                  <a:lnTo>
                    <a:pt x="334" y="256"/>
                  </a:lnTo>
                  <a:lnTo>
                    <a:pt x="297" y="188"/>
                  </a:lnTo>
                  <a:lnTo>
                    <a:pt x="265" y="170"/>
                  </a:lnTo>
                  <a:lnTo>
                    <a:pt x="265" y="136"/>
                  </a:lnTo>
                  <a:lnTo>
                    <a:pt x="302" y="112"/>
                  </a:lnTo>
                  <a:lnTo>
                    <a:pt x="304" y="4"/>
                  </a:lnTo>
                  <a:lnTo>
                    <a:pt x="274" y="0"/>
                  </a:lnTo>
                  <a:lnTo>
                    <a:pt x="274" y="57"/>
                  </a:lnTo>
                  <a:lnTo>
                    <a:pt x="146" y="294"/>
                  </a:lnTo>
                  <a:lnTo>
                    <a:pt x="69" y="298"/>
                  </a:lnTo>
                  <a:lnTo>
                    <a:pt x="15" y="335"/>
                  </a:lnTo>
                  <a:lnTo>
                    <a:pt x="0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4"/>
            <p:cNvSpPr>
              <a:spLocks/>
            </p:cNvSpPr>
            <p:nvPr/>
          </p:nvSpPr>
          <p:spPr bwMode="auto">
            <a:xfrm>
              <a:off x="5232400" y="3106738"/>
              <a:ext cx="147638" cy="147638"/>
            </a:xfrm>
            <a:custGeom>
              <a:avLst/>
              <a:gdLst>
                <a:gd name="T0" fmla="*/ 4 w 279"/>
                <a:gd name="T1" fmla="*/ 180 h 281"/>
                <a:gd name="T2" fmla="*/ 0 w 279"/>
                <a:gd name="T3" fmla="*/ 80 h 281"/>
                <a:gd name="T4" fmla="*/ 67 w 279"/>
                <a:gd name="T5" fmla="*/ 0 h 281"/>
                <a:gd name="T6" fmla="*/ 85 w 279"/>
                <a:gd name="T7" fmla="*/ 14 h 281"/>
                <a:gd name="T8" fmla="*/ 119 w 279"/>
                <a:gd name="T9" fmla="*/ 125 h 281"/>
                <a:gd name="T10" fmla="*/ 279 w 279"/>
                <a:gd name="T11" fmla="*/ 245 h 281"/>
                <a:gd name="T12" fmla="*/ 251 w 279"/>
                <a:gd name="T13" fmla="*/ 281 h 281"/>
                <a:gd name="T14" fmla="*/ 133 w 279"/>
                <a:gd name="T15" fmla="*/ 180 h 281"/>
                <a:gd name="T16" fmla="*/ 4 w 279"/>
                <a:gd name="T17" fmla="*/ 18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9" h="281">
                  <a:moveTo>
                    <a:pt x="4" y="180"/>
                  </a:moveTo>
                  <a:lnTo>
                    <a:pt x="0" y="80"/>
                  </a:lnTo>
                  <a:lnTo>
                    <a:pt x="67" y="0"/>
                  </a:lnTo>
                  <a:lnTo>
                    <a:pt x="85" y="14"/>
                  </a:lnTo>
                  <a:lnTo>
                    <a:pt x="119" y="125"/>
                  </a:lnTo>
                  <a:lnTo>
                    <a:pt x="279" y="245"/>
                  </a:lnTo>
                  <a:lnTo>
                    <a:pt x="251" y="281"/>
                  </a:lnTo>
                  <a:lnTo>
                    <a:pt x="133" y="180"/>
                  </a:lnTo>
                  <a:lnTo>
                    <a:pt x="4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35"/>
            <p:cNvSpPr>
              <a:spLocks/>
            </p:cNvSpPr>
            <p:nvPr/>
          </p:nvSpPr>
          <p:spPr bwMode="auto">
            <a:xfrm>
              <a:off x="5362575" y="3240088"/>
              <a:ext cx="36513" cy="53975"/>
            </a:xfrm>
            <a:custGeom>
              <a:avLst/>
              <a:gdLst>
                <a:gd name="T0" fmla="*/ 10 w 69"/>
                <a:gd name="T1" fmla="*/ 43 h 101"/>
                <a:gd name="T2" fmla="*/ 0 w 69"/>
                <a:gd name="T3" fmla="*/ 101 h 101"/>
                <a:gd name="T4" fmla="*/ 68 w 69"/>
                <a:gd name="T5" fmla="*/ 100 h 101"/>
                <a:gd name="T6" fmla="*/ 69 w 69"/>
                <a:gd name="T7" fmla="*/ 16 h 101"/>
                <a:gd name="T8" fmla="*/ 44 w 69"/>
                <a:gd name="T9" fmla="*/ 0 h 101"/>
                <a:gd name="T10" fmla="*/ 10 w 69"/>
                <a:gd name="T11" fmla="*/ 4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101">
                  <a:moveTo>
                    <a:pt x="10" y="43"/>
                  </a:moveTo>
                  <a:lnTo>
                    <a:pt x="0" y="101"/>
                  </a:lnTo>
                  <a:lnTo>
                    <a:pt x="68" y="100"/>
                  </a:lnTo>
                  <a:lnTo>
                    <a:pt x="69" y="16"/>
                  </a:lnTo>
                  <a:lnTo>
                    <a:pt x="44" y="0"/>
                  </a:lnTo>
                  <a:lnTo>
                    <a:pt x="1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36"/>
            <p:cNvSpPr>
              <a:spLocks/>
            </p:cNvSpPr>
            <p:nvPr/>
          </p:nvSpPr>
          <p:spPr bwMode="auto">
            <a:xfrm>
              <a:off x="5148263" y="3208338"/>
              <a:ext cx="373063" cy="292100"/>
            </a:xfrm>
            <a:custGeom>
              <a:avLst/>
              <a:gdLst>
                <a:gd name="T0" fmla="*/ 38 w 705"/>
                <a:gd name="T1" fmla="*/ 279 h 552"/>
                <a:gd name="T2" fmla="*/ 163 w 705"/>
                <a:gd name="T3" fmla="*/ 0 h 552"/>
                <a:gd name="T4" fmla="*/ 287 w 705"/>
                <a:gd name="T5" fmla="*/ 1 h 552"/>
                <a:gd name="T6" fmla="*/ 396 w 705"/>
                <a:gd name="T7" fmla="*/ 97 h 552"/>
                <a:gd name="T8" fmla="*/ 388 w 705"/>
                <a:gd name="T9" fmla="*/ 176 h 552"/>
                <a:gd name="T10" fmla="*/ 474 w 705"/>
                <a:gd name="T11" fmla="*/ 176 h 552"/>
                <a:gd name="T12" fmla="*/ 483 w 705"/>
                <a:gd name="T13" fmla="*/ 223 h 552"/>
                <a:gd name="T14" fmla="*/ 620 w 705"/>
                <a:gd name="T15" fmla="*/ 305 h 552"/>
                <a:gd name="T16" fmla="*/ 705 w 705"/>
                <a:gd name="T17" fmla="*/ 309 h 552"/>
                <a:gd name="T18" fmla="*/ 544 w 705"/>
                <a:gd name="T19" fmla="*/ 483 h 552"/>
                <a:gd name="T20" fmla="*/ 321 w 705"/>
                <a:gd name="T21" fmla="*/ 552 h 552"/>
                <a:gd name="T22" fmla="*/ 267 w 705"/>
                <a:gd name="T23" fmla="*/ 552 h 552"/>
                <a:gd name="T24" fmla="*/ 169 w 705"/>
                <a:gd name="T25" fmla="*/ 467 h 552"/>
                <a:gd name="T26" fmla="*/ 131 w 705"/>
                <a:gd name="T27" fmla="*/ 451 h 552"/>
                <a:gd name="T28" fmla="*/ 55 w 705"/>
                <a:gd name="T29" fmla="*/ 341 h 552"/>
                <a:gd name="T30" fmla="*/ 6 w 705"/>
                <a:gd name="T31" fmla="*/ 341 h 552"/>
                <a:gd name="T32" fmla="*/ 0 w 705"/>
                <a:gd name="T33" fmla="*/ 291 h 552"/>
                <a:gd name="T34" fmla="*/ 38 w 705"/>
                <a:gd name="T35" fmla="*/ 27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5" h="552">
                  <a:moveTo>
                    <a:pt x="38" y="279"/>
                  </a:moveTo>
                  <a:lnTo>
                    <a:pt x="163" y="0"/>
                  </a:lnTo>
                  <a:lnTo>
                    <a:pt x="287" y="1"/>
                  </a:lnTo>
                  <a:lnTo>
                    <a:pt x="396" y="97"/>
                  </a:lnTo>
                  <a:lnTo>
                    <a:pt x="388" y="176"/>
                  </a:lnTo>
                  <a:lnTo>
                    <a:pt x="474" y="176"/>
                  </a:lnTo>
                  <a:lnTo>
                    <a:pt x="483" y="223"/>
                  </a:lnTo>
                  <a:lnTo>
                    <a:pt x="620" y="305"/>
                  </a:lnTo>
                  <a:lnTo>
                    <a:pt x="705" y="309"/>
                  </a:lnTo>
                  <a:lnTo>
                    <a:pt x="544" y="483"/>
                  </a:lnTo>
                  <a:lnTo>
                    <a:pt x="321" y="552"/>
                  </a:lnTo>
                  <a:lnTo>
                    <a:pt x="267" y="552"/>
                  </a:lnTo>
                  <a:lnTo>
                    <a:pt x="169" y="467"/>
                  </a:lnTo>
                  <a:lnTo>
                    <a:pt x="131" y="451"/>
                  </a:lnTo>
                  <a:lnTo>
                    <a:pt x="55" y="341"/>
                  </a:lnTo>
                  <a:lnTo>
                    <a:pt x="6" y="341"/>
                  </a:lnTo>
                  <a:lnTo>
                    <a:pt x="0" y="291"/>
                  </a:lnTo>
                  <a:lnTo>
                    <a:pt x="38" y="2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37"/>
            <p:cNvSpPr>
              <a:spLocks/>
            </p:cNvSpPr>
            <p:nvPr/>
          </p:nvSpPr>
          <p:spPr bwMode="auto">
            <a:xfrm>
              <a:off x="5407025" y="3289300"/>
              <a:ext cx="149225" cy="76200"/>
            </a:xfrm>
            <a:custGeom>
              <a:avLst/>
              <a:gdLst>
                <a:gd name="T0" fmla="*/ 0 w 283"/>
                <a:gd name="T1" fmla="*/ 12 h 146"/>
                <a:gd name="T2" fmla="*/ 70 w 283"/>
                <a:gd name="T3" fmla="*/ 60 h 146"/>
                <a:gd name="T4" fmla="*/ 90 w 283"/>
                <a:gd name="T5" fmla="*/ 59 h 146"/>
                <a:gd name="T6" fmla="*/ 264 w 283"/>
                <a:gd name="T7" fmla="*/ 0 h 146"/>
                <a:gd name="T8" fmla="*/ 283 w 283"/>
                <a:gd name="T9" fmla="*/ 63 h 146"/>
                <a:gd name="T10" fmla="*/ 270 w 283"/>
                <a:gd name="T11" fmla="*/ 116 h 146"/>
                <a:gd name="T12" fmla="*/ 232 w 283"/>
                <a:gd name="T13" fmla="*/ 146 h 146"/>
                <a:gd name="T14" fmla="*/ 138 w 283"/>
                <a:gd name="T15" fmla="*/ 140 h 146"/>
                <a:gd name="T16" fmla="*/ 4 w 283"/>
                <a:gd name="T17" fmla="*/ 57 h 146"/>
                <a:gd name="T18" fmla="*/ 0 w 283"/>
                <a:gd name="T19" fmla="*/ 1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3" h="146">
                  <a:moveTo>
                    <a:pt x="0" y="12"/>
                  </a:moveTo>
                  <a:lnTo>
                    <a:pt x="70" y="60"/>
                  </a:lnTo>
                  <a:lnTo>
                    <a:pt x="90" y="59"/>
                  </a:lnTo>
                  <a:lnTo>
                    <a:pt x="264" y="0"/>
                  </a:lnTo>
                  <a:lnTo>
                    <a:pt x="283" y="63"/>
                  </a:lnTo>
                  <a:lnTo>
                    <a:pt x="270" y="116"/>
                  </a:lnTo>
                  <a:lnTo>
                    <a:pt x="232" y="146"/>
                  </a:lnTo>
                  <a:lnTo>
                    <a:pt x="138" y="140"/>
                  </a:lnTo>
                  <a:lnTo>
                    <a:pt x="4" y="57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38"/>
            <p:cNvSpPr>
              <a:spLocks/>
            </p:cNvSpPr>
            <p:nvPr/>
          </p:nvSpPr>
          <p:spPr bwMode="auto">
            <a:xfrm>
              <a:off x="5622925" y="3236913"/>
              <a:ext cx="55563" cy="31750"/>
            </a:xfrm>
            <a:custGeom>
              <a:avLst/>
              <a:gdLst>
                <a:gd name="T0" fmla="*/ 0 w 103"/>
                <a:gd name="T1" fmla="*/ 16 h 58"/>
                <a:gd name="T2" fmla="*/ 36 w 103"/>
                <a:gd name="T3" fmla="*/ 58 h 58"/>
                <a:gd name="T4" fmla="*/ 85 w 103"/>
                <a:gd name="T5" fmla="*/ 28 h 58"/>
                <a:gd name="T6" fmla="*/ 103 w 103"/>
                <a:gd name="T7" fmla="*/ 22 h 58"/>
                <a:gd name="T8" fmla="*/ 81 w 103"/>
                <a:gd name="T9" fmla="*/ 0 h 58"/>
                <a:gd name="T10" fmla="*/ 37 w 103"/>
                <a:gd name="T11" fmla="*/ 12 h 58"/>
                <a:gd name="T12" fmla="*/ 0 w 103"/>
                <a:gd name="T13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58">
                  <a:moveTo>
                    <a:pt x="0" y="16"/>
                  </a:moveTo>
                  <a:lnTo>
                    <a:pt x="36" y="58"/>
                  </a:lnTo>
                  <a:lnTo>
                    <a:pt x="85" y="28"/>
                  </a:lnTo>
                  <a:lnTo>
                    <a:pt x="103" y="22"/>
                  </a:lnTo>
                  <a:lnTo>
                    <a:pt x="81" y="0"/>
                  </a:lnTo>
                  <a:lnTo>
                    <a:pt x="37" y="12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39"/>
            <p:cNvSpPr>
              <a:spLocks/>
            </p:cNvSpPr>
            <p:nvPr/>
          </p:nvSpPr>
          <p:spPr bwMode="auto">
            <a:xfrm>
              <a:off x="5346700" y="3270250"/>
              <a:ext cx="260350" cy="360363"/>
            </a:xfrm>
            <a:custGeom>
              <a:avLst/>
              <a:gdLst>
                <a:gd name="T0" fmla="*/ 391 w 492"/>
                <a:gd name="T1" fmla="*/ 30 h 679"/>
                <a:gd name="T2" fmla="*/ 465 w 492"/>
                <a:gd name="T3" fmla="*/ 0 h 679"/>
                <a:gd name="T4" fmla="*/ 492 w 492"/>
                <a:gd name="T5" fmla="*/ 16 h 679"/>
                <a:gd name="T6" fmla="*/ 489 w 492"/>
                <a:gd name="T7" fmla="*/ 83 h 679"/>
                <a:gd name="T8" fmla="*/ 420 w 492"/>
                <a:gd name="T9" fmla="*/ 279 h 679"/>
                <a:gd name="T10" fmla="*/ 47 w 492"/>
                <a:gd name="T11" fmla="*/ 679 h 679"/>
                <a:gd name="T12" fmla="*/ 3 w 492"/>
                <a:gd name="T13" fmla="*/ 650 h 679"/>
                <a:gd name="T14" fmla="*/ 0 w 492"/>
                <a:gd name="T15" fmla="*/ 481 h 679"/>
                <a:gd name="T16" fmla="*/ 56 w 492"/>
                <a:gd name="T17" fmla="*/ 416 h 679"/>
                <a:gd name="T18" fmla="*/ 176 w 492"/>
                <a:gd name="T19" fmla="*/ 380 h 679"/>
                <a:gd name="T20" fmla="*/ 350 w 492"/>
                <a:gd name="T21" fmla="*/ 195 h 679"/>
                <a:gd name="T22" fmla="*/ 396 w 492"/>
                <a:gd name="T23" fmla="*/ 154 h 679"/>
                <a:gd name="T24" fmla="*/ 409 w 492"/>
                <a:gd name="T25" fmla="*/ 95 h 679"/>
                <a:gd name="T26" fmla="*/ 391 w 492"/>
                <a:gd name="T27" fmla="*/ 30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2" h="679">
                  <a:moveTo>
                    <a:pt x="391" y="30"/>
                  </a:moveTo>
                  <a:lnTo>
                    <a:pt x="465" y="0"/>
                  </a:lnTo>
                  <a:lnTo>
                    <a:pt x="492" y="16"/>
                  </a:lnTo>
                  <a:lnTo>
                    <a:pt x="489" y="83"/>
                  </a:lnTo>
                  <a:lnTo>
                    <a:pt x="420" y="279"/>
                  </a:lnTo>
                  <a:lnTo>
                    <a:pt x="47" y="679"/>
                  </a:lnTo>
                  <a:lnTo>
                    <a:pt x="3" y="650"/>
                  </a:lnTo>
                  <a:lnTo>
                    <a:pt x="0" y="481"/>
                  </a:lnTo>
                  <a:lnTo>
                    <a:pt x="56" y="416"/>
                  </a:lnTo>
                  <a:lnTo>
                    <a:pt x="176" y="380"/>
                  </a:lnTo>
                  <a:lnTo>
                    <a:pt x="350" y="195"/>
                  </a:lnTo>
                  <a:lnTo>
                    <a:pt x="396" y="154"/>
                  </a:lnTo>
                  <a:lnTo>
                    <a:pt x="409" y="95"/>
                  </a:lnTo>
                  <a:lnTo>
                    <a:pt x="39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0"/>
            <p:cNvSpPr>
              <a:spLocks/>
            </p:cNvSpPr>
            <p:nvPr/>
          </p:nvSpPr>
          <p:spPr bwMode="auto">
            <a:xfrm>
              <a:off x="4675188" y="3308350"/>
              <a:ext cx="330200" cy="204788"/>
            </a:xfrm>
            <a:custGeom>
              <a:avLst/>
              <a:gdLst>
                <a:gd name="T0" fmla="*/ 12 w 624"/>
                <a:gd name="T1" fmla="*/ 300 h 386"/>
                <a:gd name="T2" fmla="*/ 91 w 624"/>
                <a:gd name="T3" fmla="*/ 386 h 386"/>
                <a:gd name="T4" fmla="*/ 122 w 624"/>
                <a:gd name="T5" fmla="*/ 345 h 386"/>
                <a:gd name="T6" fmla="*/ 173 w 624"/>
                <a:gd name="T7" fmla="*/ 347 h 386"/>
                <a:gd name="T8" fmla="*/ 183 w 624"/>
                <a:gd name="T9" fmla="*/ 308 h 386"/>
                <a:gd name="T10" fmla="*/ 233 w 624"/>
                <a:gd name="T11" fmla="*/ 277 h 386"/>
                <a:gd name="T12" fmla="*/ 335 w 624"/>
                <a:gd name="T13" fmla="*/ 347 h 386"/>
                <a:gd name="T14" fmla="*/ 394 w 624"/>
                <a:gd name="T15" fmla="*/ 288 h 386"/>
                <a:gd name="T16" fmla="*/ 624 w 624"/>
                <a:gd name="T17" fmla="*/ 299 h 386"/>
                <a:gd name="T18" fmla="*/ 411 w 624"/>
                <a:gd name="T19" fmla="*/ 79 h 386"/>
                <a:gd name="T20" fmla="*/ 440 w 624"/>
                <a:gd name="T21" fmla="*/ 61 h 386"/>
                <a:gd name="T22" fmla="*/ 444 w 624"/>
                <a:gd name="T23" fmla="*/ 23 h 386"/>
                <a:gd name="T24" fmla="*/ 395 w 624"/>
                <a:gd name="T25" fmla="*/ 0 h 386"/>
                <a:gd name="T26" fmla="*/ 324 w 624"/>
                <a:gd name="T27" fmla="*/ 0 h 386"/>
                <a:gd name="T28" fmla="*/ 211 w 624"/>
                <a:gd name="T29" fmla="*/ 113 h 386"/>
                <a:gd name="T30" fmla="*/ 207 w 624"/>
                <a:gd name="T31" fmla="*/ 160 h 386"/>
                <a:gd name="T32" fmla="*/ 115 w 624"/>
                <a:gd name="T33" fmla="*/ 157 h 386"/>
                <a:gd name="T34" fmla="*/ 113 w 624"/>
                <a:gd name="T35" fmla="*/ 177 h 386"/>
                <a:gd name="T36" fmla="*/ 53 w 624"/>
                <a:gd name="T37" fmla="*/ 171 h 386"/>
                <a:gd name="T38" fmla="*/ 0 w 624"/>
                <a:gd name="T39" fmla="*/ 272 h 386"/>
                <a:gd name="T40" fmla="*/ 12 w 624"/>
                <a:gd name="T41" fmla="*/ 30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24" h="386">
                  <a:moveTo>
                    <a:pt x="12" y="300"/>
                  </a:moveTo>
                  <a:lnTo>
                    <a:pt x="91" y="386"/>
                  </a:lnTo>
                  <a:lnTo>
                    <a:pt x="122" y="345"/>
                  </a:lnTo>
                  <a:lnTo>
                    <a:pt x="173" y="347"/>
                  </a:lnTo>
                  <a:lnTo>
                    <a:pt x="183" y="308"/>
                  </a:lnTo>
                  <a:lnTo>
                    <a:pt x="233" y="277"/>
                  </a:lnTo>
                  <a:lnTo>
                    <a:pt x="335" y="347"/>
                  </a:lnTo>
                  <a:lnTo>
                    <a:pt x="394" y="288"/>
                  </a:lnTo>
                  <a:lnTo>
                    <a:pt x="624" y="299"/>
                  </a:lnTo>
                  <a:lnTo>
                    <a:pt x="411" y="79"/>
                  </a:lnTo>
                  <a:lnTo>
                    <a:pt x="440" y="61"/>
                  </a:lnTo>
                  <a:lnTo>
                    <a:pt x="444" y="23"/>
                  </a:lnTo>
                  <a:lnTo>
                    <a:pt x="395" y="0"/>
                  </a:lnTo>
                  <a:lnTo>
                    <a:pt x="324" y="0"/>
                  </a:lnTo>
                  <a:lnTo>
                    <a:pt x="211" y="113"/>
                  </a:lnTo>
                  <a:lnTo>
                    <a:pt x="207" y="160"/>
                  </a:lnTo>
                  <a:lnTo>
                    <a:pt x="115" y="157"/>
                  </a:lnTo>
                  <a:lnTo>
                    <a:pt x="113" y="177"/>
                  </a:lnTo>
                  <a:lnTo>
                    <a:pt x="53" y="171"/>
                  </a:lnTo>
                  <a:lnTo>
                    <a:pt x="0" y="272"/>
                  </a:lnTo>
                  <a:lnTo>
                    <a:pt x="12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1"/>
            <p:cNvSpPr>
              <a:spLocks/>
            </p:cNvSpPr>
            <p:nvPr/>
          </p:nvSpPr>
          <p:spPr bwMode="auto">
            <a:xfrm>
              <a:off x="4454525" y="3581400"/>
              <a:ext cx="19050" cy="17463"/>
            </a:xfrm>
            <a:custGeom>
              <a:avLst/>
              <a:gdLst>
                <a:gd name="T0" fmla="*/ 0 w 35"/>
                <a:gd name="T1" fmla="*/ 10 h 35"/>
                <a:gd name="T2" fmla="*/ 21 w 35"/>
                <a:gd name="T3" fmla="*/ 0 h 35"/>
                <a:gd name="T4" fmla="*/ 35 w 35"/>
                <a:gd name="T5" fmla="*/ 12 h 35"/>
                <a:gd name="T6" fmla="*/ 21 w 35"/>
                <a:gd name="T7" fmla="*/ 35 h 35"/>
                <a:gd name="T8" fmla="*/ 2 w 35"/>
                <a:gd name="T9" fmla="*/ 28 h 35"/>
                <a:gd name="T10" fmla="*/ 0 w 35"/>
                <a:gd name="T11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35">
                  <a:moveTo>
                    <a:pt x="0" y="10"/>
                  </a:moveTo>
                  <a:lnTo>
                    <a:pt x="21" y="0"/>
                  </a:lnTo>
                  <a:lnTo>
                    <a:pt x="35" y="12"/>
                  </a:lnTo>
                  <a:lnTo>
                    <a:pt x="21" y="35"/>
                  </a:lnTo>
                  <a:lnTo>
                    <a:pt x="2" y="28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2"/>
            <p:cNvSpPr>
              <a:spLocks/>
            </p:cNvSpPr>
            <p:nvPr/>
          </p:nvSpPr>
          <p:spPr bwMode="auto">
            <a:xfrm>
              <a:off x="4476750" y="3551238"/>
              <a:ext cx="20638" cy="17463"/>
            </a:xfrm>
            <a:custGeom>
              <a:avLst/>
              <a:gdLst>
                <a:gd name="T0" fmla="*/ 0 w 40"/>
                <a:gd name="T1" fmla="*/ 5 h 35"/>
                <a:gd name="T2" fmla="*/ 29 w 40"/>
                <a:gd name="T3" fmla="*/ 0 h 35"/>
                <a:gd name="T4" fmla="*/ 40 w 40"/>
                <a:gd name="T5" fmla="*/ 18 h 35"/>
                <a:gd name="T6" fmla="*/ 25 w 40"/>
                <a:gd name="T7" fmla="*/ 35 h 35"/>
                <a:gd name="T8" fmla="*/ 10 w 40"/>
                <a:gd name="T9" fmla="*/ 32 h 35"/>
                <a:gd name="T10" fmla="*/ 0 w 40"/>
                <a:gd name="T1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35">
                  <a:moveTo>
                    <a:pt x="0" y="5"/>
                  </a:moveTo>
                  <a:lnTo>
                    <a:pt x="29" y="0"/>
                  </a:lnTo>
                  <a:lnTo>
                    <a:pt x="40" y="18"/>
                  </a:lnTo>
                  <a:lnTo>
                    <a:pt x="25" y="35"/>
                  </a:lnTo>
                  <a:lnTo>
                    <a:pt x="10" y="3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3"/>
            <p:cNvSpPr>
              <a:spLocks/>
            </p:cNvSpPr>
            <p:nvPr/>
          </p:nvSpPr>
          <p:spPr bwMode="auto">
            <a:xfrm>
              <a:off x="4506913" y="3495675"/>
              <a:ext cx="23813" cy="26988"/>
            </a:xfrm>
            <a:custGeom>
              <a:avLst/>
              <a:gdLst>
                <a:gd name="T0" fmla="*/ 8 w 46"/>
                <a:gd name="T1" fmla="*/ 6 h 52"/>
                <a:gd name="T2" fmla="*/ 0 w 46"/>
                <a:gd name="T3" fmla="*/ 39 h 52"/>
                <a:gd name="T4" fmla="*/ 24 w 46"/>
                <a:gd name="T5" fmla="*/ 52 h 52"/>
                <a:gd name="T6" fmla="*/ 46 w 46"/>
                <a:gd name="T7" fmla="*/ 35 h 52"/>
                <a:gd name="T8" fmla="*/ 38 w 46"/>
                <a:gd name="T9" fmla="*/ 0 h 52"/>
                <a:gd name="T10" fmla="*/ 8 w 46"/>
                <a:gd name="T11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52">
                  <a:moveTo>
                    <a:pt x="8" y="6"/>
                  </a:moveTo>
                  <a:lnTo>
                    <a:pt x="0" y="39"/>
                  </a:lnTo>
                  <a:lnTo>
                    <a:pt x="24" y="52"/>
                  </a:lnTo>
                  <a:lnTo>
                    <a:pt x="46" y="35"/>
                  </a:lnTo>
                  <a:lnTo>
                    <a:pt x="38" y="0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4"/>
            <p:cNvSpPr>
              <a:spLocks/>
            </p:cNvSpPr>
            <p:nvPr/>
          </p:nvSpPr>
          <p:spPr bwMode="auto">
            <a:xfrm>
              <a:off x="4513263" y="3544888"/>
              <a:ext cx="160338" cy="161925"/>
            </a:xfrm>
            <a:custGeom>
              <a:avLst/>
              <a:gdLst>
                <a:gd name="T0" fmla="*/ 157 w 301"/>
                <a:gd name="T1" fmla="*/ 2 h 308"/>
                <a:gd name="T2" fmla="*/ 155 w 301"/>
                <a:gd name="T3" fmla="*/ 44 h 308"/>
                <a:gd name="T4" fmla="*/ 59 w 301"/>
                <a:gd name="T5" fmla="*/ 42 h 308"/>
                <a:gd name="T6" fmla="*/ 0 w 301"/>
                <a:gd name="T7" fmla="*/ 156 h 308"/>
                <a:gd name="T8" fmla="*/ 139 w 301"/>
                <a:gd name="T9" fmla="*/ 308 h 308"/>
                <a:gd name="T10" fmla="*/ 174 w 301"/>
                <a:gd name="T11" fmla="*/ 280 h 308"/>
                <a:gd name="T12" fmla="*/ 173 w 301"/>
                <a:gd name="T13" fmla="*/ 250 h 308"/>
                <a:gd name="T14" fmla="*/ 148 w 301"/>
                <a:gd name="T15" fmla="*/ 239 h 308"/>
                <a:gd name="T16" fmla="*/ 148 w 301"/>
                <a:gd name="T17" fmla="*/ 218 h 308"/>
                <a:gd name="T18" fmla="*/ 202 w 301"/>
                <a:gd name="T19" fmla="*/ 185 h 308"/>
                <a:gd name="T20" fmla="*/ 249 w 301"/>
                <a:gd name="T21" fmla="*/ 220 h 308"/>
                <a:gd name="T22" fmla="*/ 301 w 301"/>
                <a:gd name="T23" fmla="*/ 221 h 308"/>
                <a:gd name="T24" fmla="*/ 300 w 301"/>
                <a:gd name="T25" fmla="*/ 41 h 308"/>
                <a:gd name="T26" fmla="*/ 217 w 301"/>
                <a:gd name="T27" fmla="*/ 37 h 308"/>
                <a:gd name="T28" fmla="*/ 216 w 301"/>
                <a:gd name="T29" fmla="*/ 0 h 308"/>
                <a:gd name="T30" fmla="*/ 157 w 301"/>
                <a:gd name="T31" fmla="*/ 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1" h="308">
                  <a:moveTo>
                    <a:pt x="157" y="2"/>
                  </a:moveTo>
                  <a:lnTo>
                    <a:pt x="155" y="44"/>
                  </a:lnTo>
                  <a:lnTo>
                    <a:pt x="59" y="42"/>
                  </a:lnTo>
                  <a:lnTo>
                    <a:pt x="0" y="156"/>
                  </a:lnTo>
                  <a:lnTo>
                    <a:pt x="139" y="308"/>
                  </a:lnTo>
                  <a:lnTo>
                    <a:pt x="174" y="280"/>
                  </a:lnTo>
                  <a:lnTo>
                    <a:pt x="173" y="250"/>
                  </a:lnTo>
                  <a:lnTo>
                    <a:pt x="148" y="239"/>
                  </a:lnTo>
                  <a:lnTo>
                    <a:pt x="148" y="218"/>
                  </a:lnTo>
                  <a:lnTo>
                    <a:pt x="202" y="185"/>
                  </a:lnTo>
                  <a:lnTo>
                    <a:pt x="249" y="220"/>
                  </a:lnTo>
                  <a:lnTo>
                    <a:pt x="301" y="221"/>
                  </a:lnTo>
                  <a:lnTo>
                    <a:pt x="300" y="41"/>
                  </a:lnTo>
                  <a:lnTo>
                    <a:pt x="217" y="37"/>
                  </a:lnTo>
                  <a:lnTo>
                    <a:pt x="216" y="0"/>
                  </a:lnTo>
                  <a:lnTo>
                    <a:pt x="15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45"/>
            <p:cNvSpPr>
              <a:spLocks/>
            </p:cNvSpPr>
            <p:nvPr/>
          </p:nvSpPr>
          <p:spPr bwMode="auto">
            <a:xfrm>
              <a:off x="4548188" y="3546475"/>
              <a:ext cx="41275" cy="14288"/>
            </a:xfrm>
            <a:custGeom>
              <a:avLst/>
              <a:gdLst>
                <a:gd name="T0" fmla="*/ 1 w 78"/>
                <a:gd name="T1" fmla="*/ 0 h 27"/>
                <a:gd name="T2" fmla="*/ 0 w 78"/>
                <a:gd name="T3" fmla="*/ 23 h 27"/>
                <a:gd name="T4" fmla="*/ 78 w 78"/>
                <a:gd name="T5" fmla="*/ 27 h 27"/>
                <a:gd name="T6" fmla="*/ 77 w 78"/>
                <a:gd name="T7" fmla="*/ 1 h 27"/>
                <a:gd name="T8" fmla="*/ 1 w 78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7">
                  <a:moveTo>
                    <a:pt x="1" y="0"/>
                  </a:moveTo>
                  <a:lnTo>
                    <a:pt x="0" y="23"/>
                  </a:lnTo>
                  <a:lnTo>
                    <a:pt x="78" y="27"/>
                  </a:lnTo>
                  <a:lnTo>
                    <a:pt x="77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46"/>
            <p:cNvSpPr>
              <a:spLocks/>
            </p:cNvSpPr>
            <p:nvPr/>
          </p:nvSpPr>
          <p:spPr bwMode="auto">
            <a:xfrm>
              <a:off x="4589463" y="3502025"/>
              <a:ext cx="177800" cy="225425"/>
            </a:xfrm>
            <a:custGeom>
              <a:avLst/>
              <a:gdLst>
                <a:gd name="T0" fmla="*/ 93 w 335"/>
                <a:gd name="T1" fmla="*/ 80 h 425"/>
                <a:gd name="T2" fmla="*/ 92 w 335"/>
                <a:gd name="T3" fmla="*/ 105 h 425"/>
                <a:gd name="T4" fmla="*/ 175 w 335"/>
                <a:gd name="T5" fmla="*/ 107 h 425"/>
                <a:gd name="T6" fmla="*/ 177 w 335"/>
                <a:gd name="T7" fmla="*/ 319 h 425"/>
                <a:gd name="T8" fmla="*/ 103 w 335"/>
                <a:gd name="T9" fmla="*/ 317 h 425"/>
                <a:gd name="T10" fmla="*/ 59 w 335"/>
                <a:gd name="T11" fmla="*/ 284 h 425"/>
                <a:gd name="T12" fmla="*/ 25 w 335"/>
                <a:gd name="T13" fmla="*/ 302 h 425"/>
                <a:gd name="T14" fmla="*/ 23 w 335"/>
                <a:gd name="T15" fmla="*/ 311 h 425"/>
                <a:gd name="T16" fmla="*/ 42 w 335"/>
                <a:gd name="T17" fmla="*/ 320 h 425"/>
                <a:gd name="T18" fmla="*/ 46 w 335"/>
                <a:gd name="T19" fmla="*/ 364 h 425"/>
                <a:gd name="T20" fmla="*/ 0 w 335"/>
                <a:gd name="T21" fmla="*/ 404 h 425"/>
                <a:gd name="T22" fmla="*/ 10 w 335"/>
                <a:gd name="T23" fmla="*/ 425 h 425"/>
                <a:gd name="T24" fmla="*/ 61 w 335"/>
                <a:gd name="T25" fmla="*/ 384 h 425"/>
                <a:gd name="T26" fmla="*/ 85 w 335"/>
                <a:gd name="T27" fmla="*/ 384 h 425"/>
                <a:gd name="T28" fmla="*/ 93 w 335"/>
                <a:gd name="T29" fmla="*/ 409 h 425"/>
                <a:gd name="T30" fmla="*/ 126 w 335"/>
                <a:gd name="T31" fmla="*/ 422 h 425"/>
                <a:gd name="T32" fmla="*/ 230 w 335"/>
                <a:gd name="T33" fmla="*/ 334 h 425"/>
                <a:gd name="T34" fmla="*/ 228 w 335"/>
                <a:gd name="T35" fmla="*/ 270 h 425"/>
                <a:gd name="T36" fmla="*/ 251 w 335"/>
                <a:gd name="T37" fmla="*/ 217 h 425"/>
                <a:gd name="T38" fmla="*/ 318 w 335"/>
                <a:gd name="T39" fmla="*/ 167 h 425"/>
                <a:gd name="T40" fmla="*/ 335 w 335"/>
                <a:gd name="T41" fmla="*/ 0 h 425"/>
                <a:gd name="T42" fmla="*/ 287 w 335"/>
                <a:gd name="T43" fmla="*/ 0 h 425"/>
                <a:gd name="T44" fmla="*/ 233 w 335"/>
                <a:gd name="T45" fmla="*/ 75 h 425"/>
                <a:gd name="T46" fmla="*/ 93 w 335"/>
                <a:gd name="T47" fmla="*/ 8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35" h="425">
                  <a:moveTo>
                    <a:pt x="93" y="80"/>
                  </a:moveTo>
                  <a:lnTo>
                    <a:pt x="92" y="105"/>
                  </a:lnTo>
                  <a:lnTo>
                    <a:pt x="175" y="107"/>
                  </a:lnTo>
                  <a:lnTo>
                    <a:pt x="177" y="319"/>
                  </a:lnTo>
                  <a:lnTo>
                    <a:pt x="103" y="317"/>
                  </a:lnTo>
                  <a:lnTo>
                    <a:pt x="59" y="284"/>
                  </a:lnTo>
                  <a:lnTo>
                    <a:pt x="25" y="302"/>
                  </a:lnTo>
                  <a:lnTo>
                    <a:pt x="23" y="311"/>
                  </a:lnTo>
                  <a:lnTo>
                    <a:pt x="42" y="320"/>
                  </a:lnTo>
                  <a:lnTo>
                    <a:pt x="46" y="364"/>
                  </a:lnTo>
                  <a:lnTo>
                    <a:pt x="0" y="404"/>
                  </a:lnTo>
                  <a:lnTo>
                    <a:pt x="10" y="425"/>
                  </a:lnTo>
                  <a:lnTo>
                    <a:pt x="61" y="384"/>
                  </a:lnTo>
                  <a:lnTo>
                    <a:pt x="85" y="384"/>
                  </a:lnTo>
                  <a:lnTo>
                    <a:pt x="93" y="409"/>
                  </a:lnTo>
                  <a:lnTo>
                    <a:pt x="126" y="422"/>
                  </a:lnTo>
                  <a:lnTo>
                    <a:pt x="230" y="334"/>
                  </a:lnTo>
                  <a:lnTo>
                    <a:pt x="228" y="270"/>
                  </a:lnTo>
                  <a:lnTo>
                    <a:pt x="251" y="217"/>
                  </a:lnTo>
                  <a:lnTo>
                    <a:pt x="318" y="167"/>
                  </a:lnTo>
                  <a:lnTo>
                    <a:pt x="335" y="0"/>
                  </a:lnTo>
                  <a:lnTo>
                    <a:pt x="287" y="0"/>
                  </a:lnTo>
                  <a:lnTo>
                    <a:pt x="233" y="75"/>
                  </a:lnTo>
                  <a:lnTo>
                    <a:pt x="93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7"/>
            <p:cNvSpPr>
              <a:spLocks/>
            </p:cNvSpPr>
            <p:nvPr/>
          </p:nvSpPr>
          <p:spPr bwMode="auto">
            <a:xfrm>
              <a:off x="4598988" y="3713163"/>
              <a:ext cx="34925" cy="39688"/>
            </a:xfrm>
            <a:custGeom>
              <a:avLst/>
              <a:gdLst>
                <a:gd name="T0" fmla="*/ 0 w 68"/>
                <a:gd name="T1" fmla="*/ 35 h 75"/>
                <a:gd name="T2" fmla="*/ 30 w 68"/>
                <a:gd name="T3" fmla="*/ 75 h 75"/>
                <a:gd name="T4" fmla="*/ 68 w 68"/>
                <a:gd name="T5" fmla="*/ 38 h 75"/>
                <a:gd name="T6" fmla="*/ 57 w 68"/>
                <a:gd name="T7" fmla="*/ 0 h 75"/>
                <a:gd name="T8" fmla="*/ 48 w 68"/>
                <a:gd name="T9" fmla="*/ 0 h 75"/>
                <a:gd name="T10" fmla="*/ 0 w 68"/>
                <a:gd name="T11" fmla="*/ 3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75">
                  <a:moveTo>
                    <a:pt x="0" y="35"/>
                  </a:moveTo>
                  <a:lnTo>
                    <a:pt x="30" y="75"/>
                  </a:lnTo>
                  <a:lnTo>
                    <a:pt x="68" y="38"/>
                  </a:lnTo>
                  <a:lnTo>
                    <a:pt x="57" y="0"/>
                  </a:lnTo>
                  <a:lnTo>
                    <a:pt x="48" y="0"/>
                  </a:lnTo>
                  <a:lnTo>
                    <a:pt x="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48"/>
            <p:cNvSpPr>
              <a:spLocks/>
            </p:cNvSpPr>
            <p:nvPr/>
          </p:nvSpPr>
          <p:spPr bwMode="auto">
            <a:xfrm>
              <a:off x="4624388" y="3465513"/>
              <a:ext cx="477838" cy="485775"/>
            </a:xfrm>
            <a:custGeom>
              <a:avLst/>
              <a:gdLst>
                <a:gd name="T0" fmla="*/ 0 w 903"/>
                <a:gd name="T1" fmla="*/ 546 h 919"/>
                <a:gd name="T2" fmla="*/ 177 w 903"/>
                <a:gd name="T3" fmla="*/ 543 h 919"/>
                <a:gd name="T4" fmla="*/ 212 w 903"/>
                <a:gd name="T5" fmla="*/ 593 h 919"/>
                <a:gd name="T6" fmla="*/ 211 w 903"/>
                <a:gd name="T7" fmla="*/ 631 h 919"/>
                <a:gd name="T8" fmla="*/ 224 w 903"/>
                <a:gd name="T9" fmla="*/ 643 h 919"/>
                <a:gd name="T10" fmla="*/ 312 w 903"/>
                <a:gd name="T11" fmla="*/ 643 h 919"/>
                <a:gd name="T12" fmla="*/ 337 w 903"/>
                <a:gd name="T13" fmla="*/ 593 h 919"/>
                <a:gd name="T14" fmla="*/ 373 w 903"/>
                <a:gd name="T15" fmla="*/ 593 h 919"/>
                <a:gd name="T16" fmla="*/ 387 w 903"/>
                <a:gd name="T17" fmla="*/ 609 h 919"/>
                <a:gd name="T18" fmla="*/ 436 w 903"/>
                <a:gd name="T19" fmla="*/ 608 h 919"/>
                <a:gd name="T20" fmla="*/ 451 w 903"/>
                <a:gd name="T21" fmla="*/ 780 h 919"/>
                <a:gd name="T22" fmla="*/ 536 w 903"/>
                <a:gd name="T23" fmla="*/ 782 h 919"/>
                <a:gd name="T24" fmla="*/ 536 w 903"/>
                <a:gd name="T25" fmla="*/ 795 h 919"/>
                <a:gd name="T26" fmla="*/ 764 w 903"/>
                <a:gd name="T27" fmla="*/ 899 h 919"/>
                <a:gd name="T28" fmla="*/ 774 w 903"/>
                <a:gd name="T29" fmla="*/ 919 h 919"/>
                <a:gd name="T30" fmla="*/ 822 w 903"/>
                <a:gd name="T31" fmla="*/ 919 h 919"/>
                <a:gd name="T32" fmla="*/ 817 w 903"/>
                <a:gd name="T33" fmla="*/ 846 h 919"/>
                <a:gd name="T34" fmla="*/ 731 w 903"/>
                <a:gd name="T35" fmla="*/ 806 h 919"/>
                <a:gd name="T36" fmla="*/ 736 w 903"/>
                <a:gd name="T37" fmla="*/ 751 h 919"/>
                <a:gd name="T38" fmla="*/ 773 w 903"/>
                <a:gd name="T39" fmla="*/ 664 h 919"/>
                <a:gd name="T40" fmla="*/ 859 w 903"/>
                <a:gd name="T41" fmla="*/ 660 h 919"/>
                <a:gd name="T42" fmla="*/ 786 w 903"/>
                <a:gd name="T43" fmla="*/ 419 h 919"/>
                <a:gd name="T44" fmla="*/ 787 w 903"/>
                <a:gd name="T45" fmla="*/ 315 h 919"/>
                <a:gd name="T46" fmla="*/ 902 w 903"/>
                <a:gd name="T47" fmla="*/ 135 h 919"/>
                <a:gd name="T48" fmla="*/ 903 w 903"/>
                <a:gd name="T49" fmla="*/ 109 h 919"/>
                <a:gd name="T50" fmla="*/ 886 w 903"/>
                <a:gd name="T51" fmla="*/ 100 h 919"/>
                <a:gd name="T52" fmla="*/ 887 w 903"/>
                <a:gd name="T53" fmla="*/ 51 h 919"/>
                <a:gd name="T54" fmla="*/ 866 w 903"/>
                <a:gd name="T55" fmla="*/ 49 h 919"/>
                <a:gd name="T56" fmla="*/ 844 w 903"/>
                <a:gd name="T57" fmla="*/ 22 h 919"/>
                <a:gd name="T58" fmla="*/ 496 w 903"/>
                <a:gd name="T59" fmla="*/ 7 h 919"/>
                <a:gd name="T60" fmla="*/ 432 w 903"/>
                <a:gd name="T61" fmla="*/ 69 h 919"/>
                <a:gd name="T62" fmla="*/ 328 w 903"/>
                <a:gd name="T63" fmla="*/ 0 h 919"/>
                <a:gd name="T64" fmla="*/ 290 w 903"/>
                <a:gd name="T65" fmla="*/ 23 h 919"/>
                <a:gd name="T66" fmla="*/ 264 w 903"/>
                <a:gd name="T67" fmla="*/ 247 h 919"/>
                <a:gd name="T68" fmla="*/ 198 w 903"/>
                <a:gd name="T69" fmla="*/ 298 h 919"/>
                <a:gd name="T70" fmla="*/ 178 w 903"/>
                <a:gd name="T71" fmla="*/ 344 h 919"/>
                <a:gd name="T72" fmla="*/ 182 w 903"/>
                <a:gd name="T73" fmla="*/ 411 h 919"/>
                <a:gd name="T74" fmla="*/ 62 w 903"/>
                <a:gd name="T75" fmla="*/ 508 h 919"/>
                <a:gd name="T76" fmla="*/ 31 w 903"/>
                <a:gd name="T77" fmla="*/ 494 h 919"/>
                <a:gd name="T78" fmla="*/ 35 w 903"/>
                <a:gd name="T79" fmla="*/ 512 h 919"/>
                <a:gd name="T80" fmla="*/ 0 w 903"/>
                <a:gd name="T81" fmla="*/ 546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3" h="919">
                  <a:moveTo>
                    <a:pt x="0" y="546"/>
                  </a:moveTo>
                  <a:lnTo>
                    <a:pt x="177" y="543"/>
                  </a:lnTo>
                  <a:lnTo>
                    <a:pt x="212" y="593"/>
                  </a:lnTo>
                  <a:lnTo>
                    <a:pt x="211" y="631"/>
                  </a:lnTo>
                  <a:lnTo>
                    <a:pt x="224" y="643"/>
                  </a:lnTo>
                  <a:lnTo>
                    <a:pt x="312" y="643"/>
                  </a:lnTo>
                  <a:lnTo>
                    <a:pt x="337" y="593"/>
                  </a:lnTo>
                  <a:lnTo>
                    <a:pt x="373" y="593"/>
                  </a:lnTo>
                  <a:lnTo>
                    <a:pt x="387" y="609"/>
                  </a:lnTo>
                  <a:lnTo>
                    <a:pt x="436" y="608"/>
                  </a:lnTo>
                  <a:lnTo>
                    <a:pt x="451" y="780"/>
                  </a:lnTo>
                  <a:lnTo>
                    <a:pt x="536" y="782"/>
                  </a:lnTo>
                  <a:lnTo>
                    <a:pt x="536" y="795"/>
                  </a:lnTo>
                  <a:lnTo>
                    <a:pt x="764" y="899"/>
                  </a:lnTo>
                  <a:lnTo>
                    <a:pt x="774" y="919"/>
                  </a:lnTo>
                  <a:lnTo>
                    <a:pt x="822" y="919"/>
                  </a:lnTo>
                  <a:lnTo>
                    <a:pt x="817" y="846"/>
                  </a:lnTo>
                  <a:lnTo>
                    <a:pt x="731" y="806"/>
                  </a:lnTo>
                  <a:lnTo>
                    <a:pt x="736" y="751"/>
                  </a:lnTo>
                  <a:lnTo>
                    <a:pt x="773" y="664"/>
                  </a:lnTo>
                  <a:lnTo>
                    <a:pt x="859" y="660"/>
                  </a:lnTo>
                  <a:lnTo>
                    <a:pt x="786" y="419"/>
                  </a:lnTo>
                  <a:lnTo>
                    <a:pt x="787" y="315"/>
                  </a:lnTo>
                  <a:lnTo>
                    <a:pt x="902" y="135"/>
                  </a:lnTo>
                  <a:lnTo>
                    <a:pt x="903" y="109"/>
                  </a:lnTo>
                  <a:lnTo>
                    <a:pt x="886" y="100"/>
                  </a:lnTo>
                  <a:lnTo>
                    <a:pt x="887" y="51"/>
                  </a:lnTo>
                  <a:lnTo>
                    <a:pt x="866" y="49"/>
                  </a:lnTo>
                  <a:lnTo>
                    <a:pt x="844" y="22"/>
                  </a:lnTo>
                  <a:lnTo>
                    <a:pt x="496" y="7"/>
                  </a:lnTo>
                  <a:lnTo>
                    <a:pt x="432" y="69"/>
                  </a:lnTo>
                  <a:lnTo>
                    <a:pt x="328" y="0"/>
                  </a:lnTo>
                  <a:lnTo>
                    <a:pt x="290" y="23"/>
                  </a:lnTo>
                  <a:lnTo>
                    <a:pt x="264" y="247"/>
                  </a:lnTo>
                  <a:lnTo>
                    <a:pt x="198" y="298"/>
                  </a:lnTo>
                  <a:lnTo>
                    <a:pt x="178" y="344"/>
                  </a:lnTo>
                  <a:lnTo>
                    <a:pt x="182" y="411"/>
                  </a:lnTo>
                  <a:lnTo>
                    <a:pt x="62" y="508"/>
                  </a:lnTo>
                  <a:lnTo>
                    <a:pt x="31" y="494"/>
                  </a:lnTo>
                  <a:lnTo>
                    <a:pt x="35" y="512"/>
                  </a:lnTo>
                  <a:lnTo>
                    <a:pt x="0" y="5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49"/>
            <p:cNvSpPr>
              <a:spLocks/>
            </p:cNvSpPr>
            <p:nvPr/>
          </p:nvSpPr>
          <p:spPr bwMode="auto">
            <a:xfrm>
              <a:off x="5048250" y="3611563"/>
              <a:ext cx="39688" cy="49213"/>
            </a:xfrm>
            <a:custGeom>
              <a:avLst/>
              <a:gdLst>
                <a:gd name="T0" fmla="*/ 28 w 76"/>
                <a:gd name="T1" fmla="*/ 0 h 93"/>
                <a:gd name="T2" fmla="*/ 76 w 76"/>
                <a:gd name="T3" fmla="*/ 43 h 93"/>
                <a:gd name="T4" fmla="*/ 74 w 76"/>
                <a:gd name="T5" fmla="*/ 91 h 93"/>
                <a:gd name="T6" fmla="*/ 0 w 76"/>
                <a:gd name="T7" fmla="*/ 93 h 93"/>
                <a:gd name="T8" fmla="*/ 0 w 76"/>
                <a:gd name="T9" fmla="*/ 40 h 93"/>
                <a:gd name="T10" fmla="*/ 28 w 76"/>
                <a:gd name="T11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93">
                  <a:moveTo>
                    <a:pt x="28" y="0"/>
                  </a:moveTo>
                  <a:lnTo>
                    <a:pt x="76" y="43"/>
                  </a:lnTo>
                  <a:lnTo>
                    <a:pt x="74" y="91"/>
                  </a:lnTo>
                  <a:lnTo>
                    <a:pt x="0" y="93"/>
                  </a:lnTo>
                  <a:lnTo>
                    <a:pt x="0" y="40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0"/>
            <p:cNvSpPr>
              <a:spLocks/>
            </p:cNvSpPr>
            <p:nvPr/>
          </p:nvSpPr>
          <p:spPr bwMode="auto">
            <a:xfrm>
              <a:off x="5046663" y="3667125"/>
              <a:ext cx="41275" cy="42863"/>
            </a:xfrm>
            <a:custGeom>
              <a:avLst/>
              <a:gdLst>
                <a:gd name="T0" fmla="*/ 3 w 76"/>
                <a:gd name="T1" fmla="*/ 1 h 79"/>
                <a:gd name="T2" fmla="*/ 76 w 76"/>
                <a:gd name="T3" fmla="*/ 0 h 79"/>
                <a:gd name="T4" fmla="*/ 57 w 76"/>
                <a:gd name="T5" fmla="*/ 64 h 79"/>
                <a:gd name="T6" fmla="*/ 38 w 76"/>
                <a:gd name="T7" fmla="*/ 79 h 79"/>
                <a:gd name="T8" fmla="*/ 16 w 76"/>
                <a:gd name="T9" fmla="*/ 79 h 79"/>
                <a:gd name="T10" fmla="*/ 0 w 76"/>
                <a:gd name="T11" fmla="*/ 37 h 79"/>
                <a:gd name="T12" fmla="*/ 3 w 76"/>
                <a:gd name="T13" fmla="*/ 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9">
                  <a:moveTo>
                    <a:pt x="3" y="1"/>
                  </a:moveTo>
                  <a:lnTo>
                    <a:pt x="76" y="0"/>
                  </a:lnTo>
                  <a:lnTo>
                    <a:pt x="57" y="64"/>
                  </a:lnTo>
                  <a:lnTo>
                    <a:pt x="38" y="79"/>
                  </a:lnTo>
                  <a:lnTo>
                    <a:pt x="16" y="79"/>
                  </a:lnTo>
                  <a:lnTo>
                    <a:pt x="0" y="37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1"/>
            <p:cNvSpPr>
              <a:spLocks/>
            </p:cNvSpPr>
            <p:nvPr/>
          </p:nvSpPr>
          <p:spPr bwMode="auto">
            <a:xfrm>
              <a:off x="5067300" y="3492500"/>
              <a:ext cx="128588" cy="136525"/>
            </a:xfrm>
            <a:custGeom>
              <a:avLst/>
              <a:gdLst>
                <a:gd name="T0" fmla="*/ 0 w 243"/>
                <a:gd name="T1" fmla="*/ 211 h 259"/>
                <a:gd name="T2" fmla="*/ 52 w 243"/>
                <a:gd name="T3" fmla="*/ 259 h 259"/>
                <a:gd name="T4" fmla="*/ 85 w 243"/>
                <a:gd name="T5" fmla="*/ 238 h 259"/>
                <a:gd name="T6" fmla="*/ 173 w 243"/>
                <a:gd name="T7" fmla="*/ 224 h 259"/>
                <a:gd name="T8" fmla="*/ 188 w 243"/>
                <a:gd name="T9" fmla="*/ 226 h 259"/>
                <a:gd name="T10" fmla="*/ 193 w 243"/>
                <a:gd name="T11" fmla="*/ 192 h 259"/>
                <a:gd name="T12" fmla="*/ 243 w 243"/>
                <a:gd name="T13" fmla="*/ 88 h 259"/>
                <a:gd name="T14" fmla="*/ 201 w 243"/>
                <a:gd name="T15" fmla="*/ 0 h 259"/>
                <a:gd name="T16" fmla="*/ 66 w 243"/>
                <a:gd name="T17" fmla="*/ 1 h 259"/>
                <a:gd name="T18" fmla="*/ 65 w 243"/>
                <a:gd name="T19" fmla="*/ 37 h 259"/>
                <a:gd name="T20" fmla="*/ 84 w 243"/>
                <a:gd name="T21" fmla="*/ 55 h 259"/>
                <a:gd name="T22" fmla="*/ 81 w 243"/>
                <a:gd name="T23" fmla="*/ 91 h 259"/>
                <a:gd name="T24" fmla="*/ 0 w 243"/>
                <a:gd name="T25" fmla="*/ 211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3" h="259">
                  <a:moveTo>
                    <a:pt x="0" y="211"/>
                  </a:moveTo>
                  <a:lnTo>
                    <a:pt x="52" y="259"/>
                  </a:lnTo>
                  <a:lnTo>
                    <a:pt x="85" y="238"/>
                  </a:lnTo>
                  <a:lnTo>
                    <a:pt x="173" y="224"/>
                  </a:lnTo>
                  <a:lnTo>
                    <a:pt x="188" y="226"/>
                  </a:lnTo>
                  <a:lnTo>
                    <a:pt x="193" y="192"/>
                  </a:lnTo>
                  <a:lnTo>
                    <a:pt x="243" y="88"/>
                  </a:lnTo>
                  <a:lnTo>
                    <a:pt x="201" y="0"/>
                  </a:lnTo>
                  <a:lnTo>
                    <a:pt x="66" y="1"/>
                  </a:lnTo>
                  <a:lnTo>
                    <a:pt x="65" y="37"/>
                  </a:lnTo>
                  <a:lnTo>
                    <a:pt x="84" y="55"/>
                  </a:lnTo>
                  <a:lnTo>
                    <a:pt x="81" y="91"/>
                  </a:lnTo>
                  <a:lnTo>
                    <a:pt x="0" y="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2"/>
            <p:cNvSpPr>
              <a:spLocks/>
            </p:cNvSpPr>
            <p:nvPr/>
          </p:nvSpPr>
          <p:spPr bwMode="auto">
            <a:xfrm>
              <a:off x="5172075" y="3455988"/>
              <a:ext cx="195263" cy="249238"/>
            </a:xfrm>
            <a:custGeom>
              <a:avLst/>
              <a:gdLst>
                <a:gd name="T0" fmla="*/ 18 w 368"/>
                <a:gd name="T1" fmla="*/ 64 h 471"/>
                <a:gd name="T2" fmla="*/ 62 w 368"/>
                <a:gd name="T3" fmla="*/ 153 h 471"/>
                <a:gd name="T4" fmla="*/ 8 w 368"/>
                <a:gd name="T5" fmla="*/ 267 h 471"/>
                <a:gd name="T6" fmla="*/ 0 w 368"/>
                <a:gd name="T7" fmla="*/ 303 h 471"/>
                <a:gd name="T8" fmla="*/ 273 w 368"/>
                <a:gd name="T9" fmla="*/ 471 h 471"/>
                <a:gd name="T10" fmla="*/ 359 w 368"/>
                <a:gd name="T11" fmla="*/ 338 h 471"/>
                <a:gd name="T12" fmla="*/ 315 w 368"/>
                <a:gd name="T13" fmla="*/ 304 h 471"/>
                <a:gd name="T14" fmla="*/ 315 w 368"/>
                <a:gd name="T15" fmla="*/ 128 h 471"/>
                <a:gd name="T16" fmla="*/ 368 w 368"/>
                <a:gd name="T17" fmla="*/ 69 h 471"/>
                <a:gd name="T18" fmla="*/ 282 w 368"/>
                <a:gd name="T19" fmla="*/ 98 h 471"/>
                <a:gd name="T20" fmla="*/ 219 w 368"/>
                <a:gd name="T21" fmla="*/ 99 h 471"/>
                <a:gd name="T22" fmla="*/ 117 w 368"/>
                <a:gd name="T23" fmla="*/ 14 h 471"/>
                <a:gd name="T24" fmla="*/ 86 w 368"/>
                <a:gd name="T25" fmla="*/ 0 h 471"/>
                <a:gd name="T26" fmla="*/ 26 w 368"/>
                <a:gd name="T27" fmla="*/ 5 h 471"/>
                <a:gd name="T28" fmla="*/ 16 w 368"/>
                <a:gd name="T29" fmla="*/ 23 h 471"/>
                <a:gd name="T30" fmla="*/ 18 w 368"/>
                <a:gd name="T31" fmla="*/ 64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8" h="471">
                  <a:moveTo>
                    <a:pt x="18" y="64"/>
                  </a:moveTo>
                  <a:lnTo>
                    <a:pt x="62" y="153"/>
                  </a:lnTo>
                  <a:lnTo>
                    <a:pt x="8" y="267"/>
                  </a:lnTo>
                  <a:lnTo>
                    <a:pt x="0" y="303"/>
                  </a:lnTo>
                  <a:lnTo>
                    <a:pt x="273" y="471"/>
                  </a:lnTo>
                  <a:lnTo>
                    <a:pt x="359" y="338"/>
                  </a:lnTo>
                  <a:lnTo>
                    <a:pt x="315" y="304"/>
                  </a:lnTo>
                  <a:lnTo>
                    <a:pt x="315" y="128"/>
                  </a:lnTo>
                  <a:lnTo>
                    <a:pt x="368" y="69"/>
                  </a:lnTo>
                  <a:lnTo>
                    <a:pt x="282" y="98"/>
                  </a:lnTo>
                  <a:lnTo>
                    <a:pt x="219" y="99"/>
                  </a:lnTo>
                  <a:lnTo>
                    <a:pt x="117" y="14"/>
                  </a:lnTo>
                  <a:lnTo>
                    <a:pt x="86" y="0"/>
                  </a:lnTo>
                  <a:lnTo>
                    <a:pt x="26" y="5"/>
                  </a:lnTo>
                  <a:lnTo>
                    <a:pt x="16" y="23"/>
                  </a:lnTo>
                  <a:lnTo>
                    <a:pt x="1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3"/>
            <p:cNvSpPr>
              <a:spLocks/>
            </p:cNvSpPr>
            <p:nvPr/>
          </p:nvSpPr>
          <p:spPr bwMode="auto">
            <a:xfrm>
              <a:off x="5057775" y="3616325"/>
              <a:ext cx="279400" cy="280988"/>
            </a:xfrm>
            <a:custGeom>
              <a:avLst/>
              <a:gdLst>
                <a:gd name="T0" fmla="*/ 228 w 528"/>
                <a:gd name="T1" fmla="*/ 530 h 530"/>
                <a:gd name="T2" fmla="*/ 528 w 528"/>
                <a:gd name="T3" fmla="*/ 493 h 530"/>
                <a:gd name="T4" fmla="*/ 461 w 528"/>
                <a:gd name="T5" fmla="*/ 363 h 530"/>
                <a:gd name="T6" fmla="*/ 457 w 528"/>
                <a:gd name="T7" fmla="*/ 238 h 530"/>
                <a:gd name="T8" fmla="*/ 478 w 528"/>
                <a:gd name="T9" fmla="*/ 179 h 530"/>
                <a:gd name="T10" fmla="*/ 194 w 528"/>
                <a:gd name="T11" fmla="*/ 0 h 530"/>
                <a:gd name="T12" fmla="*/ 105 w 528"/>
                <a:gd name="T13" fmla="*/ 15 h 530"/>
                <a:gd name="T14" fmla="*/ 74 w 528"/>
                <a:gd name="T15" fmla="*/ 37 h 530"/>
                <a:gd name="T16" fmla="*/ 71 w 528"/>
                <a:gd name="T17" fmla="*/ 90 h 530"/>
                <a:gd name="T18" fmla="*/ 51 w 528"/>
                <a:gd name="T19" fmla="*/ 162 h 530"/>
                <a:gd name="T20" fmla="*/ 31 w 528"/>
                <a:gd name="T21" fmla="*/ 188 h 530"/>
                <a:gd name="T22" fmla="*/ 0 w 528"/>
                <a:gd name="T23" fmla="*/ 190 h 530"/>
                <a:gd name="T24" fmla="*/ 58 w 528"/>
                <a:gd name="T25" fmla="*/ 389 h 530"/>
                <a:gd name="T26" fmla="*/ 151 w 528"/>
                <a:gd name="T27" fmla="*/ 433 h 530"/>
                <a:gd name="T28" fmla="*/ 215 w 528"/>
                <a:gd name="T29" fmla="*/ 435 h 530"/>
                <a:gd name="T30" fmla="*/ 228 w 528"/>
                <a:gd name="T31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8" h="530">
                  <a:moveTo>
                    <a:pt x="228" y="530"/>
                  </a:moveTo>
                  <a:lnTo>
                    <a:pt x="528" y="493"/>
                  </a:lnTo>
                  <a:lnTo>
                    <a:pt x="461" y="363"/>
                  </a:lnTo>
                  <a:lnTo>
                    <a:pt x="457" y="238"/>
                  </a:lnTo>
                  <a:lnTo>
                    <a:pt x="478" y="179"/>
                  </a:lnTo>
                  <a:lnTo>
                    <a:pt x="194" y="0"/>
                  </a:lnTo>
                  <a:lnTo>
                    <a:pt x="105" y="15"/>
                  </a:lnTo>
                  <a:lnTo>
                    <a:pt x="74" y="37"/>
                  </a:lnTo>
                  <a:lnTo>
                    <a:pt x="71" y="90"/>
                  </a:lnTo>
                  <a:lnTo>
                    <a:pt x="51" y="162"/>
                  </a:lnTo>
                  <a:lnTo>
                    <a:pt x="31" y="188"/>
                  </a:lnTo>
                  <a:lnTo>
                    <a:pt x="0" y="190"/>
                  </a:lnTo>
                  <a:lnTo>
                    <a:pt x="58" y="389"/>
                  </a:lnTo>
                  <a:lnTo>
                    <a:pt x="151" y="433"/>
                  </a:lnTo>
                  <a:lnTo>
                    <a:pt x="215" y="435"/>
                  </a:lnTo>
                  <a:lnTo>
                    <a:pt x="228" y="5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54"/>
            <p:cNvSpPr>
              <a:spLocks/>
            </p:cNvSpPr>
            <p:nvPr/>
          </p:nvSpPr>
          <p:spPr bwMode="auto">
            <a:xfrm>
              <a:off x="4851400" y="3821113"/>
              <a:ext cx="298450" cy="247650"/>
            </a:xfrm>
            <a:custGeom>
              <a:avLst/>
              <a:gdLst>
                <a:gd name="T0" fmla="*/ 0 w 564"/>
                <a:gd name="T1" fmla="*/ 369 h 468"/>
                <a:gd name="T2" fmla="*/ 55 w 564"/>
                <a:gd name="T3" fmla="*/ 445 h 468"/>
                <a:gd name="T4" fmla="*/ 139 w 564"/>
                <a:gd name="T5" fmla="*/ 450 h 468"/>
                <a:gd name="T6" fmla="*/ 169 w 564"/>
                <a:gd name="T7" fmla="*/ 467 h 468"/>
                <a:gd name="T8" fmla="*/ 257 w 564"/>
                <a:gd name="T9" fmla="*/ 468 h 468"/>
                <a:gd name="T10" fmla="*/ 333 w 564"/>
                <a:gd name="T11" fmla="*/ 361 h 468"/>
                <a:gd name="T12" fmla="*/ 544 w 564"/>
                <a:gd name="T13" fmla="*/ 267 h 468"/>
                <a:gd name="T14" fmla="*/ 564 w 564"/>
                <a:gd name="T15" fmla="*/ 182 h 468"/>
                <a:gd name="T16" fmla="*/ 538 w 564"/>
                <a:gd name="T17" fmla="*/ 63 h 468"/>
                <a:gd name="T18" fmla="*/ 428 w 564"/>
                <a:gd name="T19" fmla="*/ 0 h 468"/>
                <a:gd name="T20" fmla="*/ 355 w 564"/>
                <a:gd name="T21" fmla="*/ 5 h 468"/>
                <a:gd name="T22" fmla="*/ 317 w 564"/>
                <a:gd name="T23" fmla="*/ 87 h 468"/>
                <a:gd name="T24" fmla="*/ 318 w 564"/>
                <a:gd name="T25" fmla="*/ 123 h 468"/>
                <a:gd name="T26" fmla="*/ 405 w 564"/>
                <a:gd name="T27" fmla="*/ 166 h 468"/>
                <a:gd name="T28" fmla="*/ 410 w 564"/>
                <a:gd name="T29" fmla="*/ 258 h 468"/>
                <a:gd name="T30" fmla="*/ 335 w 564"/>
                <a:gd name="T31" fmla="*/ 263 h 468"/>
                <a:gd name="T32" fmla="*/ 317 w 564"/>
                <a:gd name="T33" fmla="*/ 231 h 468"/>
                <a:gd name="T34" fmla="*/ 109 w 564"/>
                <a:gd name="T35" fmla="*/ 143 h 468"/>
                <a:gd name="T36" fmla="*/ 103 w 564"/>
                <a:gd name="T37" fmla="*/ 211 h 468"/>
                <a:gd name="T38" fmla="*/ 4 w 564"/>
                <a:gd name="T39" fmla="*/ 214 h 468"/>
                <a:gd name="T40" fmla="*/ 0 w 564"/>
                <a:gd name="T41" fmla="*/ 369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4" h="468">
                  <a:moveTo>
                    <a:pt x="0" y="369"/>
                  </a:moveTo>
                  <a:lnTo>
                    <a:pt x="55" y="445"/>
                  </a:lnTo>
                  <a:lnTo>
                    <a:pt x="139" y="450"/>
                  </a:lnTo>
                  <a:lnTo>
                    <a:pt x="169" y="467"/>
                  </a:lnTo>
                  <a:lnTo>
                    <a:pt x="257" y="468"/>
                  </a:lnTo>
                  <a:lnTo>
                    <a:pt x="333" y="361"/>
                  </a:lnTo>
                  <a:lnTo>
                    <a:pt x="544" y="267"/>
                  </a:lnTo>
                  <a:lnTo>
                    <a:pt x="564" y="182"/>
                  </a:lnTo>
                  <a:lnTo>
                    <a:pt x="538" y="63"/>
                  </a:lnTo>
                  <a:lnTo>
                    <a:pt x="428" y="0"/>
                  </a:lnTo>
                  <a:lnTo>
                    <a:pt x="355" y="5"/>
                  </a:lnTo>
                  <a:lnTo>
                    <a:pt x="317" y="87"/>
                  </a:lnTo>
                  <a:lnTo>
                    <a:pt x="318" y="123"/>
                  </a:lnTo>
                  <a:lnTo>
                    <a:pt x="405" y="166"/>
                  </a:lnTo>
                  <a:lnTo>
                    <a:pt x="410" y="258"/>
                  </a:lnTo>
                  <a:lnTo>
                    <a:pt x="335" y="263"/>
                  </a:lnTo>
                  <a:lnTo>
                    <a:pt x="317" y="231"/>
                  </a:lnTo>
                  <a:lnTo>
                    <a:pt x="109" y="143"/>
                  </a:lnTo>
                  <a:lnTo>
                    <a:pt x="103" y="211"/>
                  </a:lnTo>
                  <a:lnTo>
                    <a:pt x="4" y="214"/>
                  </a:lnTo>
                  <a:lnTo>
                    <a:pt x="0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5"/>
            <p:cNvSpPr>
              <a:spLocks/>
            </p:cNvSpPr>
            <p:nvPr/>
          </p:nvSpPr>
          <p:spPr bwMode="auto">
            <a:xfrm>
              <a:off x="4595813" y="3762375"/>
              <a:ext cx="303213" cy="301625"/>
            </a:xfrm>
            <a:custGeom>
              <a:avLst/>
              <a:gdLst>
                <a:gd name="T0" fmla="*/ 42 w 574"/>
                <a:gd name="T1" fmla="*/ 3 h 572"/>
                <a:gd name="T2" fmla="*/ 100 w 574"/>
                <a:gd name="T3" fmla="*/ 221 h 572"/>
                <a:gd name="T4" fmla="*/ 99 w 574"/>
                <a:gd name="T5" fmla="*/ 290 h 572"/>
                <a:gd name="T6" fmla="*/ 13 w 574"/>
                <a:gd name="T7" fmla="*/ 382 h 572"/>
                <a:gd name="T8" fmla="*/ 0 w 574"/>
                <a:gd name="T9" fmla="*/ 531 h 572"/>
                <a:gd name="T10" fmla="*/ 329 w 574"/>
                <a:gd name="T11" fmla="*/ 534 h 572"/>
                <a:gd name="T12" fmla="*/ 436 w 574"/>
                <a:gd name="T13" fmla="*/ 572 h 572"/>
                <a:gd name="T14" fmla="*/ 524 w 574"/>
                <a:gd name="T15" fmla="*/ 561 h 572"/>
                <a:gd name="T16" fmla="*/ 473 w 574"/>
                <a:gd name="T17" fmla="*/ 496 h 572"/>
                <a:gd name="T18" fmla="*/ 473 w 574"/>
                <a:gd name="T19" fmla="*/ 313 h 572"/>
                <a:gd name="T20" fmla="*/ 574 w 574"/>
                <a:gd name="T21" fmla="*/ 309 h 572"/>
                <a:gd name="T22" fmla="*/ 574 w 574"/>
                <a:gd name="T23" fmla="*/ 236 h 572"/>
                <a:gd name="T24" fmla="*/ 492 w 574"/>
                <a:gd name="T25" fmla="*/ 233 h 572"/>
                <a:gd name="T26" fmla="*/ 475 w 574"/>
                <a:gd name="T27" fmla="*/ 64 h 572"/>
                <a:gd name="T28" fmla="*/ 441 w 574"/>
                <a:gd name="T29" fmla="*/ 64 h 572"/>
                <a:gd name="T30" fmla="*/ 422 w 574"/>
                <a:gd name="T31" fmla="*/ 48 h 572"/>
                <a:gd name="T32" fmla="*/ 402 w 574"/>
                <a:gd name="T33" fmla="*/ 49 h 572"/>
                <a:gd name="T34" fmla="*/ 375 w 574"/>
                <a:gd name="T35" fmla="*/ 100 h 572"/>
                <a:gd name="T36" fmla="*/ 271 w 574"/>
                <a:gd name="T37" fmla="*/ 100 h 572"/>
                <a:gd name="T38" fmla="*/ 247 w 574"/>
                <a:gd name="T39" fmla="*/ 76 h 572"/>
                <a:gd name="T40" fmla="*/ 254 w 574"/>
                <a:gd name="T41" fmla="*/ 42 h 572"/>
                <a:gd name="T42" fmla="*/ 226 w 574"/>
                <a:gd name="T43" fmla="*/ 0 h 572"/>
                <a:gd name="T44" fmla="*/ 42 w 574"/>
                <a:gd name="T45" fmla="*/ 3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4" h="572">
                  <a:moveTo>
                    <a:pt x="42" y="3"/>
                  </a:moveTo>
                  <a:lnTo>
                    <a:pt x="100" y="221"/>
                  </a:lnTo>
                  <a:lnTo>
                    <a:pt x="99" y="290"/>
                  </a:lnTo>
                  <a:lnTo>
                    <a:pt x="13" y="382"/>
                  </a:lnTo>
                  <a:lnTo>
                    <a:pt x="0" y="531"/>
                  </a:lnTo>
                  <a:lnTo>
                    <a:pt x="329" y="534"/>
                  </a:lnTo>
                  <a:lnTo>
                    <a:pt x="436" y="572"/>
                  </a:lnTo>
                  <a:lnTo>
                    <a:pt x="524" y="561"/>
                  </a:lnTo>
                  <a:lnTo>
                    <a:pt x="473" y="496"/>
                  </a:lnTo>
                  <a:lnTo>
                    <a:pt x="473" y="313"/>
                  </a:lnTo>
                  <a:lnTo>
                    <a:pt x="574" y="309"/>
                  </a:lnTo>
                  <a:lnTo>
                    <a:pt x="574" y="236"/>
                  </a:lnTo>
                  <a:lnTo>
                    <a:pt x="492" y="233"/>
                  </a:lnTo>
                  <a:lnTo>
                    <a:pt x="475" y="64"/>
                  </a:lnTo>
                  <a:lnTo>
                    <a:pt x="441" y="64"/>
                  </a:lnTo>
                  <a:lnTo>
                    <a:pt x="422" y="48"/>
                  </a:lnTo>
                  <a:lnTo>
                    <a:pt x="402" y="49"/>
                  </a:lnTo>
                  <a:lnTo>
                    <a:pt x="375" y="100"/>
                  </a:lnTo>
                  <a:lnTo>
                    <a:pt x="271" y="100"/>
                  </a:lnTo>
                  <a:lnTo>
                    <a:pt x="247" y="76"/>
                  </a:lnTo>
                  <a:lnTo>
                    <a:pt x="254" y="42"/>
                  </a:lnTo>
                  <a:lnTo>
                    <a:pt x="226" y="0"/>
                  </a:lnTo>
                  <a:lnTo>
                    <a:pt x="4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6"/>
            <p:cNvSpPr>
              <a:spLocks/>
            </p:cNvSpPr>
            <p:nvPr/>
          </p:nvSpPr>
          <p:spPr bwMode="auto">
            <a:xfrm>
              <a:off x="5145088" y="3854450"/>
              <a:ext cx="73025" cy="198438"/>
            </a:xfrm>
            <a:custGeom>
              <a:avLst/>
              <a:gdLst>
                <a:gd name="T0" fmla="*/ 5 w 138"/>
                <a:gd name="T1" fmla="*/ 218 h 375"/>
                <a:gd name="T2" fmla="*/ 57 w 138"/>
                <a:gd name="T3" fmla="*/ 274 h 375"/>
                <a:gd name="T4" fmla="*/ 56 w 138"/>
                <a:gd name="T5" fmla="*/ 345 h 375"/>
                <a:gd name="T6" fmla="*/ 67 w 138"/>
                <a:gd name="T7" fmla="*/ 375 h 375"/>
                <a:gd name="T8" fmla="*/ 138 w 138"/>
                <a:gd name="T9" fmla="*/ 298 h 375"/>
                <a:gd name="T10" fmla="*/ 129 w 138"/>
                <a:gd name="T11" fmla="*/ 202 h 375"/>
                <a:gd name="T12" fmla="*/ 91 w 138"/>
                <a:gd name="T13" fmla="*/ 172 h 375"/>
                <a:gd name="T14" fmla="*/ 57 w 138"/>
                <a:gd name="T15" fmla="*/ 2 h 375"/>
                <a:gd name="T16" fmla="*/ 0 w 138"/>
                <a:gd name="T17" fmla="*/ 0 h 375"/>
                <a:gd name="T18" fmla="*/ 26 w 138"/>
                <a:gd name="T19" fmla="*/ 122 h 375"/>
                <a:gd name="T20" fmla="*/ 5 w 138"/>
                <a:gd name="T21" fmla="*/ 218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8" h="375">
                  <a:moveTo>
                    <a:pt x="5" y="218"/>
                  </a:moveTo>
                  <a:lnTo>
                    <a:pt x="57" y="274"/>
                  </a:lnTo>
                  <a:lnTo>
                    <a:pt x="56" y="345"/>
                  </a:lnTo>
                  <a:lnTo>
                    <a:pt x="67" y="375"/>
                  </a:lnTo>
                  <a:lnTo>
                    <a:pt x="138" y="298"/>
                  </a:lnTo>
                  <a:lnTo>
                    <a:pt x="129" y="202"/>
                  </a:lnTo>
                  <a:lnTo>
                    <a:pt x="91" y="172"/>
                  </a:lnTo>
                  <a:lnTo>
                    <a:pt x="57" y="2"/>
                  </a:lnTo>
                  <a:lnTo>
                    <a:pt x="0" y="0"/>
                  </a:lnTo>
                  <a:lnTo>
                    <a:pt x="26" y="122"/>
                  </a:lnTo>
                  <a:lnTo>
                    <a:pt x="5" y="2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57"/>
            <p:cNvSpPr>
              <a:spLocks/>
            </p:cNvSpPr>
            <p:nvPr/>
          </p:nvSpPr>
          <p:spPr bwMode="auto">
            <a:xfrm>
              <a:off x="5068888" y="3884613"/>
              <a:ext cx="279400" cy="411163"/>
            </a:xfrm>
            <a:custGeom>
              <a:avLst/>
              <a:gdLst>
                <a:gd name="T0" fmla="*/ 48 w 529"/>
                <a:gd name="T1" fmla="*/ 740 h 778"/>
                <a:gd name="T2" fmla="*/ 94 w 529"/>
                <a:gd name="T3" fmla="*/ 778 h 778"/>
                <a:gd name="T4" fmla="*/ 202 w 529"/>
                <a:gd name="T5" fmla="*/ 712 h 778"/>
                <a:gd name="T6" fmla="*/ 220 w 529"/>
                <a:gd name="T7" fmla="*/ 614 h 778"/>
                <a:gd name="T8" fmla="*/ 220 w 529"/>
                <a:gd name="T9" fmla="*/ 452 h 778"/>
                <a:gd name="T10" fmla="*/ 394 w 529"/>
                <a:gd name="T11" fmla="*/ 309 h 778"/>
                <a:gd name="T12" fmla="*/ 424 w 529"/>
                <a:gd name="T13" fmla="*/ 310 h 778"/>
                <a:gd name="T14" fmla="*/ 529 w 529"/>
                <a:gd name="T15" fmla="*/ 210 h 778"/>
                <a:gd name="T16" fmla="*/ 513 w 529"/>
                <a:gd name="T17" fmla="*/ 0 h 778"/>
                <a:gd name="T18" fmla="*/ 233 w 529"/>
                <a:gd name="T19" fmla="*/ 36 h 778"/>
                <a:gd name="T20" fmla="*/ 241 w 529"/>
                <a:gd name="T21" fmla="*/ 99 h 778"/>
                <a:gd name="T22" fmla="*/ 290 w 529"/>
                <a:gd name="T23" fmla="*/ 136 h 778"/>
                <a:gd name="T24" fmla="*/ 301 w 529"/>
                <a:gd name="T25" fmla="*/ 250 h 778"/>
                <a:gd name="T26" fmla="*/ 206 w 529"/>
                <a:gd name="T27" fmla="*/ 342 h 778"/>
                <a:gd name="T28" fmla="*/ 184 w 529"/>
                <a:gd name="T29" fmla="*/ 290 h 778"/>
                <a:gd name="T30" fmla="*/ 188 w 529"/>
                <a:gd name="T31" fmla="*/ 222 h 778"/>
                <a:gd name="T32" fmla="*/ 133 w 529"/>
                <a:gd name="T33" fmla="*/ 163 h 778"/>
                <a:gd name="T34" fmla="*/ 0 w 529"/>
                <a:gd name="T35" fmla="*/ 225 h 778"/>
                <a:gd name="T36" fmla="*/ 124 w 529"/>
                <a:gd name="T37" fmla="*/ 288 h 778"/>
                <a:gd name="T38" fmla="*/ 128 w 529"/>
                <a:gd name="T39" fmla="*/ 471 h 778"/>
                <a:gd name="T40" fmla="*/ 46 w 529"/>
                <a:gd name="T41" fmla="*/ 593 h 778"/>
                <a:gd name="T42" fmla="*/ 48 w 529"/>
                <a:gd name="T43" fmla="*/ 74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9" h="778">
                  <a:moveTo>
                    <a:pt x="48" y="740"/>
                  </a:moveTo>
                  <a:lnTo>
                    <a:pt x="94" y="778"/>
                  </a:lnTo>
                  <a:lnTo>
                    <a:pt x="202" y="712"/>
                  </a:lnTo>
                  <a:lnTo>
                    <a:pt x="220" y="614"/>
                  </a:lnTo>
                  <a:lnTo>
                    <a:pt x="220" y="452"/>
                  </a:lnTo>
                  <a:lnTo>
                    <a:pt x="394" y="309"/>
                  </a:lnTo>
                  <a:lnTo>
                    <a:pt x="424" y="310"/>
                  </a:lnTo>
                  <a:lnTo>
                    <a:pt x="529" y="210"/>
                  </a:lnTo>
                  <a:lnTo>
                    <a:pt x="513" y="0"/>
                  </a:lnTo>
                  <a:lnTo>
                    <a:pt x="233" y="36"/>
                  </a:lnTo>
                  <a:lnTo>
                    <a:pt x="241" y="99"/>
                  </a:lnTo>
                  <a:lnTo>
                    <a:pt x="290" y="136"/>
                  </a:lnTo>
                  <a:lnTo>
                    <a:pt x="301" y="250"/>
                  </a:lnTo>
                  <a:lnTo>
                    <a:pt x="206" y="342"/>
                  </a:lnTo>
                  <a:lnTo>
                    <a:pt x="184" y="290"/>
                  </a:lnTo>
                  <a:lnTo>
                    <a:pt x="188" y="222"/>
                  </a:lnTo>
                  <a:lnTo>
                    <a:pt x="133" y="163"/>
                  </a:lnTo>
                  <a:lnTo>
                    <a:pt x="0" y="225"/>
                  </a:lnTo>
                  <a:lnTo>
                    <a:pt x="124" y="288"/>
                  </a:lnTo>
                  <a:lnTo>
                    <a:pt x="128" y="471"/>
                  </a:lnTo>
                  <a:lnTo>
                    <a:pt x="46" y="593"/>
                  </a:lnTo>
                  <a:lnTo>
                    <a:pt x="48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58"/>
            <p:cNvSpPr>
              <a:spLocks/>
            </p:cNvSpPr>
            <p:nvPr/>
          </p:nvSpPr>
          <p:spPr bwMode="auto">
            <a:xfrm>
              <a:off x="4941888" y="4006850"/>
              <a:ext cx="187325" cy="187325"/>
            </a:xfrm>
            <a:custGeom>
              <a:avLst/>
              <a:gdLst>
                <a:gd name="T0" fmla="*/ 3 w 353"/>
                <a:gd name="T1" fmla="*/ 151 h 354"/>
                <a:gd name="T2" fmla="*/ 156 w 353"/>
                <a:gd name="T3" fmla="*/ 325 h 354"/>
                <a:gd name="T4" fmla="*/ 274 w 353"/>
                <a:gd name="T5" fmla="*/ 354 h 354"/>
                <a:gd name="T6" fmla="*/ 353 w 353"/>
                <a:gd name="T7" fmla="*/ 230 h 354"/>
                <a:gd name="T8" fmla="*/ 347 w 353"/>
                <a:gd name="T9" fmla="*/ 66 h 354"/>
                <a:gd name="T10" fmla="*/ 219 w 353"/>
                <a:gd name="T11" fmla="*/ 0 h 354"/>
                <a:gd name="T12" fmla="*/ 170 w 353"/>
                <a:gd name="T13" fmla="*/ 22 h 354"/>
                <a:gd name="T14" fmla="*/ 99 w 353"/>
                <a:gd name="T15" fmla="*/ 132 h 354"/>
                <a:gd name="T16" fmla="*/ 0 w 353"/>
                <a:gd name="T17" fmla="*/ 131 h 354"/>
                <a:gd name="T18" fmla="*/ 3 w 353"/>
                <a:gd name="T19" fmla="*/ 151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4">
                  <a:moveTo>
                    <a:pt x="3" y="151"/>
                  </a:moveTo>
                  <a:lnTo>
                    <a:pt x="156" y="325"/>
                  </a:lnTo>
                  <a:lnTo>
                    <a:pt x="274" y="354"/>
                  </a:lnTo>
                  <a:lnTo>
                    <a:pt x="353" y="230"/>
                  </a:lnTo>
                  <a:lnTo>
                    <a:pt x="347" y="66"/>
                  </a:lnTo>
                  <a:lnTo>
                    <a:pt x="219" y="0"/>
                  </a:lnTo>
                  <a:lnTo>
                    <a:pt x="170" y="22"/>
                  </a:lnTo>
                  <a:lnTo>
                    <a:pt x="99" y="132"/>
                  </a:lnTo>
                  <a:lnTo>
                    <a:pt x="0" y="131"/>
                  </a:lnTo>
                  <a:lnTo>
                    <a:pt x="3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59"/>
            <p:cNvSpPr>
              <a:spLocks/>
            </p:cNvSpPr>
            <p:nvPr/>
          </p:nvSpPr>
          <p:spPr bwMode="auto">
            <a:xfrm>
              <a:off x="4594225" y="4051300"/>
              <a:ext cx="327025" cy="323850"/>
            </a:xfrm>
            <a:custGeom>
              <a:avLst/>
              <a:gdLst>
                <a:gd name="T0" fmla="*/ 180 w 617"/>
                <a:gd name="T1" fmla="*/ 575 h 614"/>
                <a:gd name="T2" fmla="*/ 237 w 617"/>
                <a:gd name="T3" fmla="*/ 579 h 614"/>
                <a:gd name="T4" fmla="*/ 270 w 617"/>
                <a:gd name="T5" fmla="*/ 613 h 614"/>
                <a:gd name="T6" fmla="*/ 350 w 617"/>
                <a:gd name="T7" fmla="*/ 614 h 614"/>
                <a:gd name="T8" fmla="*/ 370 w 617"/>
                <a:gd name="T9" fmla="*/ 387 h 614"/>
                <a:gd name="T10" fmla="*/ 370 w 617"/>
                <a:gd name="T11" fmla="*/ 239 h 614"/>
                <a:gd name="T12" fmla="*/ 421 w 617"/>
                <a:gd name="T13" fmla="*/ 227 h 614"/>
                <a:gd name="T14" fmla="*/ 441 w 617"/>
                <a:gd name="T15" fmla="*/ 72 h 614"/>
                <a:gd name="T16" fmla="*/ 571 w 617"/>
                <a:gd name="T17" fmla="*/ 68 h 614"/>
                <a:gd name="T18" fmla="*/ 617 w 617"/>
                <a:gd name="T19" fmla="*/ 30 h 614"/>
                <a:gd name="T20" fmla="*/ 539 w 617"/>
                <a:gd name="T21" fmla="*/ 26 h 614"/>
                <a:gd name="T22" fmla="*/ 434 w 617"/>
                <a:gd name="T23" fmla="*/ 41 h 614"/>
                <a:gd name="T24" fmla="*/ 320 w 617"/>
                <a:gd name="T25" fmla="*/ 0 h 614"/>
                <a:gd name="T26" fmla="*/ 0 w 617"/>
                <a:gd name="T27" fmla="*/ 0 h 614"/>
                <a:gd name="T28" fmla="*/ 8 w 617"/>
                <a:gd name="T29" fmla="*/ 90 h 614"/>
                <a:gd name="T30" fmla="*/ 115 w 617"/>
                <a:gd name="T31" fmla="*/ 248 h 614"/>
                <a:gd name="T32" fmla="*/ 97 w 617"/>
                <a:gd name="T33" fmla="*/ 328 h 614"/>
                <a:gd name="T34" fmla="*/ 98 w 617"/>
                <a:gd name="T35" fmla="*/ 371 h 614"/>
                <a:gd name="T36" fmla="*/ 180 w 617"/>
                <a:gd name="T37" fmla="*/ 575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7" h="614">
                  <a:moveTo>
                    <a:pt x="180" y="575"/>
                  </a:moveTo>
                  <a:lnTo>
                    <a:pt x="237" y="579"/>
                  </a:lnTo>
                  <a:lnTo>
                    <a:pt x="270" y="613"/>
                  </a:lnTo>
                  <a:lnTo>
                    <a:pt x="350" y="614"/>
                  </a:lnTo>
                  <a:lnTo>
                    <a:pt x="370" y="387"/>
                  </a:lnTo>
                  <a:lnTo>
                    <a:pt x="370" y="239"/>
                  </a:lnTo>
                  <a:lnTo>
                    <a:pt x="421" y="227"/>
                  </a:lnTo>
                  <a:lnTo>
                    <a:pt x="441" y="72"/>
                  </a:lnTo>
                  <a:lnTo>
                    <a:pt x="571" y="68"/>
                  </a:lnTo>
                  <a:lnTo>
                    <a:pt x="617" y="30"/>
                  </a:lnTo>
                  <a:lnTo>
                    <a:pt x="539" y="26"/>
                  </a:lnTo>
                  <a:lnTo>
                    <a:pt x="434" y="41"/>
                  </a:lnTo>
                  <a:lnTo>
                    <a:pt x="320" y="0"/>
                  </a:lnTo>
                  <a:lnTo>
                    <a:pt x="0" y="0"/>
                  </a:lnTo>
                  <a:lnTo>
                    <a:pt x="8" y="90"/>
                  </a:lnTo>
                  <a:lnTo>
                    <a:pt x="115" y="248"/>
                  </a:lnTo>
                  <a:lnTo>
                    <a:pt x="97" y="328"/>
                  </a:lnTo>
                  <a:lnTo>
                    <a:pt x="98" y="371"/>
                  </a:lnTo>
                  <a:lnTo>
                    <a:pt x="180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0"/>
            <p:cNvSpPr>
              <a:spLocks/>
            </p:cNvSpPr>
            <p:nvPr/>
          </p:nvSpPr>
          <p:spPr bwMode="auto">
            <a:xfrm>
              <a:off x="4797425" y="4070350"/>
              <a:ext cx="222250" cy="252413"/>
            </a:xfrm>
            <a:custGeom>
              <a:avLst/>
              <a:gdLst>
                <a:gd name="T0" fmla="*/ 0 w 421"/>
                <a:gd name="T1" fmla="*/ 354 h 476"/>
                <a:gd name="T2" fmla="*/ 37 w 421"/>
                <a:gd name="T3" fmla="*/ 365 h 476"/>
                <a:gd name="T4" fmla="*/ 32 w 421"/>
                <a:gd name="T5" fmla="*/ 471 h 476"/>
                <a:gd name="T6" fmla="*/ 70 w 421"/>
                <a:gd name="T7" fmla="*/ 476 h 476"/>
                <a:gd name="T8" fmla="*/ 157 w 421"/>
                <a:gd name="T9" fmla="*/ 398 h 476"/>
                <a:gd name="T10" fmla="*/ 262 w 421"/>
                <a:gd name="T11" fmla="*/ 409 h 476"/>
                <a:gd name="T12" fmla="*/ 289 w 421"/>
                <a:gd name="T13" fmla="*/ 339 h 476"/>
                <a:gd name="T14" fmla="*/ 421 w 421"/>
                <a:gd name="T15" fmla="*/ 218 h 476"/>
                <a:gd name="T16" fmla="*/ 263 w 421"/>
                <a:gd name="T17" fmla="*/ 35 h 476"/>
                <a:gd name="T18" fmla="*/ 261 w 421"/>
                <a:gd name="T19" fmla="*/ 5 h 476"/>
                <a:gd name="T20" fmla="*/ 243 w 421"/>
                <a:gd name="T21" fmla="*/ 0 h 476"/>
                <a:gd name="T22" fmla="*/ 195 w 421"/>
                <a:gd name="T23" fmla="*/ 44 h 476"/>
                <a:gd name="T24" fmla="*/ 70 w 421"/>
                <a:gd name="T25" fmla="*/ 47 h 476"/>
                <a:gd name="T26" fmla="*/ 53 w 421"/>
                <a:gd name="T27" fmla="*/ 203 h 476"/>
                <a:gd name="T28" fmla="*/ 3 w 421"/>
                <a:gd name="T29" fmla="*/ 215 h 476"/>
                <a:gd name="T30" fmla="*/ 0 w 421"/>
                <a:gd name="T31" fmla="*/ 354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1" h="476">
                  <a:moveTo>
                    <a:pt x="0" y="354"/>
                  </a:moveTo>
                  <a:lnTo>
                    <a:pt x="37" y="365"/>
                  </a:lnTo>
                  <a:lnTo>
                    <a:pt x="32" y="471"/>
                  </a:lnTo>
                  <a:lnTo>
                    <a:pt x="70" y="476"/>
                  </a:lnTo>
                  <a:lnTo>
                    <a:pt x="157" y="398"/>
                  </a:lnTo>
                  <a:lnTo>
                    <a:pt x="262" y="409"/>
                  </a:lnTo>
                  <a:lnTo>
                    <a:pt x="289" y="339"/>
                  </a:lnTo>
                  <a:lnTo>
                    <a:pt x="421" y="218"/>
                  </a:lnTo>
                  <a:lnTo>
                    <a:pt x="263" y="35"/>
                  </a:lnTo>
                  <a:lnTo>
                    <a:pt x="261" y="5"/>
                  </a:lnTo>
                  <a:lnTo>
                    <a:pt x="243" y="0"/>
                  </a:lnTo>
                  <a:lnTo>
                    <a:pt x="195" y="44"/>
                  </a:lnTo>
                  <a:lnTo>
                    <a:pt x="70" y="47"/>
                  </a:lnTo>
                  <a:lnTo>
                    <a:pt x="53" y="203"/>
                  </a:lnTo>
                  <a:lnTo>
                    <a:pt x="3" y="215"/>
                  </a:lnTo>
                  <a:lnTo>
                    <a:pt x="0" y="3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1"/>
            <p:cNvSpPr>
              <a:spLocks/>
            </p:cNvSpPr>
            <p:nvPr/>
          </p:nvSpPr>
          <p:spPr bwMode="auto">
            <a:xfrm>
              <a:off x="5057775" y="4283075"/>
              <a:ext cx="57150" cy="46038"/>
            </a:xfrm>
            <a:custGeom>
              <a:avLst/>
              <a:gdLst>
                <a:gd name="T0" fmla="*/ 61 w 107"/>
                <a:gd name="T1" fmla="*/ 0 h 87"/>
                <a:gd name="T2" fmla="*/ 18 w 107"/>
                <a:gd name="T3" fmla="*/ 7 h 87"/>
                <a:gd name="T4" fmla="*/ 0 w 107"/>
                <a:gd name="T5" fmla="*/ 57 h 87"/>
                <a:gd name="T6" fmla="*/ 33 w 107"/>
                <a:gd name="T7" fmla="*/ 87 h 87"/>
                <a:gd name="T8" fmla="*/ 73 w 107"/>
                <a:gd name="T9" fmla="*/ 87 h 87"/>
                <a:gd name="T10" fmla="*/ 107 w 107"/>
                <a:gd name="T11" fmla="*/ 38 h 87"/>
                <a:gd name="T12" fmla="*/ 61 w 107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87">
                  <a:moveTo>
                    <a:pt x="61" y="0"/>
                  </a:moveTo>
                  <a:lnTo>
                    <a:pt x="18" y="7"/>
                  </a:lnTo>
                  <a:lnTo>
                    <a:pt x="0" y="57"/>
                  </a:lnTo>
                  <a:lnTo>
                    <a:pt x="33" y="87"/>
                  </a:lnTo>
                  <a:lnTo>
                    <a:pt x="73" y="87"/>
                  </a:lnTo>
                  <a:lnTo>
                    <a:pt x="107" y="38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2"/>
            <p:cNvSpPr>
              <a:spLocks/>
            </p:cNvSpPr>
            <p:nvPr/>
          </p:nvSpPr>
          <p:spPr bwMode="auto">
            <a:xfrm>
              <a:off x="4960938" y="4364038"/>
              <a:ext cx="63500" cy="58738"/>
            </a:xfrm>
            <a:custGeom>
              <a:avLst/>
              <a:gdLst>
                <a:gd name="T0" fmla="*/ 16 w 122"/>
                <a:gd name="T1" fmla="*/ 41 h 109"/>
                <a:gd name="T2" fmla="*/ 68 w 122"/>
                <a:gd name="T3" fmla="*/ 0 h 109"/>
                <a:gd name="T4" fmla="*/ 93 w 122"/>
                <a:gd name="T5" fmla="*/ 1 h 109"/>
                <a:gd name="T6" fmla="*/ 122 w 122"/>
                <a:gd name="T7" fmla="*/ 39 h 109"/>
                <a:gd name="T8" fmla="*/ 119 w 122"/>
                <a:gd name="T9" fmla="*/ 76 h 109"/>
                <a:gd name="T10" fmla="*/ 69 w 122"/>
                <a:gd name="T11" fmla="*/ 94 h 109"/>
                <a:gd name="T12" fmla="*/ 69 w 122"/>
                <a:gd name="T13" fmla="*/ 109 h 109"/>
                <a:gd name="T14" fmla="*/ 14 w 122"/>
                <a:gd name="T15" fmla="*/ 106 h 109"/>
                <a:gd name="T16" fmla="*/ 0 w 122"/>
                <a:gd name="T17" fmla="*/ 65 h 109"/>
                <a:gd name="T18" fmla="*/ 16 w 122"/>
                <a:gd name="T19" fmla="*/ 4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09">
                  <a:moveTo>
                    <a:pt x="16" y="41"/>
                  </a:moveTo>
                  <a:lnTo>
                    <a:pt x="68" y="0"/>
                  </a:lnTo>
                  <a:lnTo>
                    <a:pt x="93" y="1"/>
                  </a:lnTo>
                  <a:lnTo>
                    <a:pt x="122" y="39"/>
                  </a:lnTo>
                  <a:lnTo>
                    <a:pt x="119" y="76"/>
                  </a:lnTo>
                  <a:lnTo>
                    <a:pt x="69" y="94"/>
                  </a:lnTo>
                  <a:lnTo>
                    <a:pt x="69" y="109"/>
                  </a:lnTo>
                  <a:lnTo>
                    <a:pt x="14" y="106"/>
                  </a:lnTo>
                  <a:lnTo>
                    <a:pt x="0" y="65"/>
                  </a:lnTo>
                  <a:lnTo>
                    <a:pt x="1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3"/>
            <p:cNvSpPr>
              <a:spLocks noEditPoints="1"/>
            </p:cNvSpPr>
            <p:nvPr/>
          </p:nvSpPr>
          <p:spPr bwMode="auto">
            <a:xfrm>
              <a:off x="4692650" y="4189413"/>
              <a:ext cx="423863" cy="368300"/>
            </a:xfrm>
            <a:custGeom>
              <a:avLst/>
              <a:gdLst>
                <a:gd name="T0" fmla="*/ 637 w 801"/>
                <a:gd name="T1" fmla="*/ 0 h 696"/>
                <a:gd name="T2" fmla="*/ 502 w 801"/>
                <a:gd name="T3" fmla="*/ 125 h 696"/>
                <a:gd name="T4" fmla="*/ 470 w 801"/>
                <a:gd name="T5" fmla="*/ 202 h 696"/>
                <a:gd name="T6" fmla="*/ 363 w 801"/>
                <a:gd name="T7" fmla="*/ 189 h 696"/>
                <a:gd name="T8" fmla="*/ 274 w 801"/>
                <a:gd name="T9" fmla="*/ 268 h 696"/>
                <a:gd name="T10" fmla="*/ 214 w 801"/>
                <a:gd name="T11" fmla="*/ 262 h 696"/>
                <a:gd name="T12" fmla="*/ 219 w 801"/>
                <a:gd name="T13" fmla="*/ 152 h 696"/>
                <a:gd name="T14" fmla="*/ 198 w 801"/>
                <a:gd name="T15" fmla="*/ 145 h 696"/>
                <a:gd name="T16" fmla="*/ 184 w 801"/>
                <a:gd name="T17" fmla="*/ 369 h 696"/>
                <a:gd name="T18" fmla="*/ 78 w 801"/>
                <a:gd name="T19" fmla="*/ 368 h 696"/>
                <a:gd name="T20" fmla="*/ 47 w 801"/>
                <a:gd name="T21" fmla="*/ 331 h 696"/>
                <a:gd name="T22" fmla="*/ 0 w 801"/>
                <a:gd name="T23" fmla="*/ 331 h 696"/>
                <a:gd name="T24" fmla="*/ 43 w 801"/>
                <a:gd name="T25" fmla="*/ 452 h 696"/>
                <a:gd name="T26" fmla="*/ 118 w 801"/>
                <a:gd name="T27" fmla="*/ 524 h 696"/>
                <a:gd name="T28" fmla="*/ 64 w 801"/>
                <a:gd name="T29" fmla="*/ 587 h 696"/>
                <a:gd name="T30" fmla="*/ 99 w 801"/>
                <a:gd name="T31" fmla="*/ 665 h 696"/>
                <a:gd name="T32" fmla="*/ 180 w 801"/>
                <a:gd name="T33" fmla="*/ 696 h 696"/>
                <a:gd name="T34" fmla="*/ 245 w 801"/>
                <a:gd name="T35" fmla="*/ 642 h 696"/>
                <a:gd name="T36" fmla="*/ 428 w 801"/>
                <a:gd name="T37" fmla="*/ 643 h 696"/>
                <a:gd name="T38" fmla="*/ 441 w 801"/>
                <a:gd name="T39" fmla="*/ 625 h 696"/>
                <a:gd name="T40" fmla="*/ 524 w 801"/>
                <a:gd name="T41" fmla="*/ 611 h 696"/>
                <a:gd name="T42" fmla="*/ 801 w 801"/>
                <a:gd name="T43" fmla="*/ 336 h 696"/>
                <a:gd name="T44" fmla="*/ 800 w 801"/>
                <a:gd name="T45" fmla="*/ 249 h 696"/>
                <a:gd name="T46" fmla="*/ 770 w 801"/>
                <a:gd name="T47" fmla="*/ 287 h 696"/>
                <a:gd name="T48" fmla="*/ 726 w 801"/>
                <a:gd name="T49" fmla="*/ 287 h 696"/>
                <a:gd name="T50" fmla="*/ 672 w 801"/>
                <a:gd name="T51" fmla="*/ 242 h 696"/>
                <a:gd name="T52" fmla="*/ 699 w 801"/>
                <a:gd name="T53" fmla="*/ 174 h 696"/>
                <a:gd name="T54" fmla="*/ 746 w 801"/>
                <a:gd name="T55" fmla="*/ 164 h 696"/>
                <a:gd name="T56" fmla="*/ 742 w 801"/>
                <a:gd name="T57" fmla="*/ 24 h 696"/>
                <a:gd name="T58" fmla="*/ 637 w 801"/>
                <a:gd name="T59" fmla="*/ 0 h 696"/>
                <a:gd name="T60" fmla="*/ 572 w 801"/>
                <a:gd name="T61" fmla="*/ 317 h 696"/>
                <a:gd name="T62" fmla="*/ 599 w 801"/>
                <a:gd name="T63" fmla="*/ 316 h 696"/>
                <a:gd name="T64" fmla="*/ 640 w 801"/>
                <a:gd name="T65" fmla="*/ 361 h 696"/>
                <a:gd name="T66" fmla="*/ 639 w 801"/>
                <a:gd name="T67" fmla="*/ 414 h 696"/>
                <a:gd name="T68" fmla="*/ 590 w 801"/>
                <a:gd name="T69" fmla="*/ 439 h 696"/>
                <a:gd name="T70" fmla="*/ 587 w 801"/>
                <a:gd name="T71" fmla="*/ 456 h 696"/>
                <a:gd name="T72" fmla="*/ 512 w 801"/>
                <a:gd name="T73" fmla="*/ 457 h 696"/>
                <a:gd name="T74" fmla="*/ 488 w 801"/>
                <a:gd name="T75" fmla="*/ 401 h 696"/>
                <a:gd name="T76" fmla="*/ 510 w 801"/>
                <a:gd name="T77" fmla="*/ 359 h 696"/>
                <a:gd name="T78" fmla="*/ 572 w 801"/>
                <a:gd name="T79" fmla="*/ 317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1" h="696">
                  <a:moveTo>
                    <a:pt x="637" y="0"/>
                  </a:moveTo>
                  <a:lnTo>
                    <a:pt x="502" y="125"/>
                  </a:lnTo>
                  <a:lnTo>
                    <a:pt x="470" y="202"/>
                  </a:lnTo>
                  <a:lnTo>
                    <a:pt x="363" y="189"/>
                  </a:lnTo>
                  <a:lnTo>
                    <a:pt x="274" y="268"/>
                  </a:lnTo>
                  <a:lnTo>
                    <a:pt x="214" y="262"/>
                  </a:lnTo>
                  <a:lnTo>
                    <a:pt x="219" y="152"/>
                  </a:lnTo>
                  <a:lnTo>
                    <a:pt x="198" y="145"/>
                  </a:lnTo>
                  <a:lnTo>
                    <a:pt x="184" y="369"/>
                  </a:lnTo>
                  <a:lnTo>
                    <a:pt x="78" y="368"/>
                  </a:lnTo>
                  <a:lnTo>
                    <a:pt x="47" y="331"/>
                  </a:lnTo>
                  <a:lnTo>
                    <a:pt x="0" y="331"/>
                  </a:lnTo>
                  <a:lnTo>
                    <a:pt x="43" y="452"/>
                  </a:lnTo>
                  <a:lnTo>
                    <a:pt x="118" y="524"/>
                  </a:lnTo>
                  <a:lnTo>
                    <a:pt x="64" y="587"/>
                  </a:lnTo>
                  <a:lnTo>
                    <a:pt x="99" y="665"/>
                  </a:lnTo>
                  <a:lnTo>
                    <a:pt x="180" y="696"/>
                  </a:lnTo>
                  <a:lnTo>
                    <a:pt x="245" y="642"/>
                  </a:lnTo>
                  <a:lnTo>
                    <a:pt x="428" y="643"/>
                  </a:lnTo>
                  <a:lnTo>
                    <a:pt x="441" y="625"/>
                  </a:lnTo>
                  <a:lnTo>
                    <a:pt x="524" y="611"/>
                  </a:lnTo>
                  <a:lnTo>
                    <a:pt x="801" y="336"/>
                  </a:lnTo>
                  <a:lnTo>
                    <a:pt x="800" y="249"/>
                  </a:lnTo>
                  <a:lnTo>
                    <a:pt x="770" y="287"/>
                  </a:lnTo>
                  <a:lnTo>
                    <a:pt x="726" y="287"/>
                  </a:lnTo>
                  <a:lnTo>
                    <a:pt x="672" y="242"/>
                  </a:lnTo>
                  <a:lnTo>
                    <a:pt x="699" y="174"/>
                  </a:lnTo>
                  <a:lnTo>
                    <a:pt x="746" y="164"/>
                  </a:lnTo>
                  <a:lnTo>
                    <a:pt x="742" y="24"/>
                  </a:lnTo>
                  <a:lnTo>
                    <a:pt x="637" y="0"/>
                  </a:lnTo>
                  <a:close/>
                  <a:moveTo>
                    <a:pt x="572" y="317"/>
                  </a:moveTo>
                  <a:lnTo>
                    <a:pt x="599" y="316"/>
                  </a:lnTo>
                  <a:lnTo>
                    <a:pt x="640" y="361"/>
                  </a:lnTo>
                  <a:lnTo>
                    <a:pt x="639" y="414"/>
                  </a:lnTo>
                  <a:lnTo>
                    <a:pt x="590" y="439"/>
                  </a:lnTo>
                  <a:lnTo>
                    <a:pt x="587" y="456"/>
                  </a:lnTo>
                  <a:lnTo>
                    <a:pt x="512" y="457"/>
                  </a:lnTo>
                  <a:lnTo>
                    <a:pt x="488" y="401"/>
                  </a:lnTo>
                  <a:lnTo>
                    <a:pt x="510" y="359"/>
                  </a:lnTo>
                  <a:lnTo>
                    <a:pt x="572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64"/>
            <p:cNvSpPr>
              <a:spLocks/>
            </p:cNvSpPr>
            <p:nvPr/>
          </p:nvSpPr>
          <p:spPr bwMode="auto">
            <a:xfrm>
              <a:off x="3087688" y="784225"/>
              <a:ext cx="1062038" cy="1035050"/>
            </a:xfrm>
            <a:custGeom>
              <a:avLst/>
              <a:gdLst>
                <a:gd name="T0" fmla="*/ 0 w 2007"/>
                <a:gd name="T1" fmla="*/ 414 h 1956"/>
                <a:gd name="T2" fmla="*/ 24 w 2007"/>
                <a:gd name="T3" fmla="*/ 499 h 1956"/>
                <a:gd name="T4" fmla="*/ 159 w 2007"/>
                <a:gd name="T5" fmla="*/ 554 h 1956"/>
                <a:gd name="T6" fmla="*/ 368 w 2007"/>
                <a:gd name="T7" fmla="*/ 666 h 1956"/>
                <a:gd name="T8" fmla="*/ 382 w 2007"/>
                <a:gd name="T9" fmla="*/ 992 h 1956"/>
                <a:gd name="T10" fmla="*/ 513 w 2007"/>
                <a:gd name="T11" fmla="*/ 1006 h 1956"/>
                <a:gd name="T12" fmla="*/ 414 w 2007"/>
                <a:gd name="T13" fmla="*/ 1071 h 1956"/>
                <a:gd name="T14" fmla="*/ 540 w 2007"/>
                <a:gd name="T15" fmla="*/ 1141 h 1956"/>
                <a:gd name="T16" fmla="*/ 368 w 2007"/>
                <a:gd name="T17" fmla="*/ 1471 h 1956"/>
                <a:gd name="T18" fmla="*/ 377 w 2007"/>
                <a:gd name="T19" fmla="*/ 1634 h 1956"/>
                <a:gd name="T20" fmla="*/ 499 w 2007"/>
                <a:gd name="T21" fmla="*/ 1854 h 1956"/>
                <a:gd name="T22" fmla="*/ 573 w 2007"/>
                <a:gd name="T23" fmla="*/ 1834 h 1956"/>
                <a:gd name="T24" fmla="*/ 610 w 2007"/>
                <a:gd name="T25" fmla="*/ 1956 h 1956"/>
                <a:gd name="T26" fmla="*/ 717 w 2007"/>
                <a:gd name="T27" fmla="*/ 1779 h 1956"/>
                <a:gd name="T28" fmla="*/ 1066 w 2007"/>
                <a:gd name="T29" fmla="*/ 1523 h 1956"/>
                <a:gd name="T30" fmla="*/ 1257 w 2007"/>
                <a:gd name="T31" fmla="*/ 1388 h 1956"/>
                <a:gd name="T32" fmla="*/ 1485 w 2007"/>
                <a:gd name="T33" fmla="*/ 1285 h 1956"/>
                <a:gd name="T34" fmla="*/ 1625 w 2007"/>
                <a:gd name="T35" fmla="*/ 1155 h 1956"/>
                <a:gd name="T36" fmla="*/ 1476 w 2007"/>
                <a:gd name="T37" fmla="*/ 1062 h 1956"/>
                <a:gd name="T38" fmla="*/ 1528 w 2007"/>
                <a:gd name="T39" fmla="*/ 913 h 1956"/>
                <a:gd name="T40" fmla="*/ 1714 w 2007"/>
                <a:gd name="T41" fmla="*/ 936 h 1956"/>
                <a:gd name="T42" fmla="*/ 1798 w 2007"/>
                <a:gd name="T43" fmla="*/ 680 h 1956"/>
                <a:gd name="T44" fmla="*/ 1695 w 2007"/>
                <a:gd name="T45" fmla="*/ 582 h 1956"/>
                <a:gd name="T46" fmla="*/ 1816 w 2007"/>
                <a:gd name="T47" fmla="*/ 456 h 1956"/>
                <a:gd name="T48" fmla="*/ 1951 w 2007"/>
                <a:gd name="T49" fmla="*/ 228 h 1956"/>
                <a:gd name="T50" fmla="*/ 1625 w 2007"/>
                <a:gd name="T51" fmla="*/ 358 h 1956"/>
                <a:gd name="T52" fmla="*/ 1616 w 2007"/>
                <a:gd name="T53" fmla="*/ 196 h 1956"/>
                <a:gd name="T54" fmla="*/ 1514 w 2007"/>
                <a:gd name="T55" fmla="*/ 219 h 1956"/>
                <a:gd name="T56" fmla="*/ 1393 w 2007"/>
                <a:gd name="T57" fmla="*/ 164 h 1956"/>
                <a:gd name="T58" fmla="*/ 1598 w 2007"/>
                <a:gd name="T59" fmla="*/ 61 h 1956"/>
                <a:gd name="T60" fmla="*/ 1179 w 2007"/>
                <a:gd name="T61" fmla="*/ 23 h 1956"/>
                <a:gd name="T62" fmla="*/ 1057 w 2007"/>
                <a:gd name="T63" fmla="*/ 42 h 1956"/>
                <a:gd name="T64" fmla="*/ 974 w 2007"/>
                <a:gd name="T65" fmla="*/ 18 h 1956"/>
                <a:gd name="T66" fmla="*/ 1048 w 2007"/>
                <a:gd name="T67" fmla="*/ 98 h 1956"/>
                <a:gd name="T68" fmla="*/ 880 w 2007"/>
                <a:gd name="T69" fmla="*/ 88 h 1956"/>
                <a:gd name="T70" fmla="*/ 769 w 2007"/>
                <a:gd name="T71" fmla="*/ 135 h 1956"/>
                <a:gd name="T72" fmla="*/ 634 w 2007"/>
                <a:gd name="T73" fmla="*/ 56 h 1956"/>
                <a:gd name="T74" fmla="*/ 396 w 2007"/>
                <a:gd name="T75" fmla="*/ 75 h 1956"/>
                <a:gd name="T76" fmla="*/ 284 w 2007"/>
                <a:gd name="T77" fmla="*/ 117 h 1956"/>
                <a:gd name="T78" fmla="*/ 224 w 2007"/>
                <a:gd name="T79" fmla="*/ 210 h 1956"/>
                <a:gd name="T80" fmla="*/ 103 w 2007"/>
                <a:gd name="T81" fmla="*/ 266 h 1956"/>
                <a:gd name="T82" fmla="*/ 9 w 2007"/>
                <a:gd name="T83" fmla="*/ 289 h 1956"/>
                <a:gd name="T84" fmla="*/ 182 w 2007"/>
                <a:gd name="T85" fmla="*/ 335 h 1956"/>
                <a:gd name="T86" fmla="*/ 103 w 2007"/>
                <a:gd name="T87" fmla="*/ 415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07" h="1956">
                  <a:moveTo>
                    <a:pt x="24" y="377"/>
                  </a:moveTo>
                  <a:lnTo>
                    <a:pt x="0" y="414"/>
                  </a:lnTo>
                  <a:lnTo>
                    <a:pt x="42" y="456"/>
                  </a:lnTo>
                  <a:lnTo>
                    <a:pt x="24" y="499"/>
                  </a:lnTo>
                  <a:lnTo>
                    <a:pt x="84" y="578"/>
                  </a:lnTo>
                  <a:lnTo>
                    <a:pt x="159" y="554"/>
                  </a:lnTo>
                  <a:lnTo>
                    <a:pt x="256" y="545"/>
                  </a:lnTo>
                  <a:lnTo>
                    <a:pt x="368" y="666"/>
                  </a:lnTo>
                  <a:lnTo>
                    <a:pt x="443" y="866"/>
                  </a:lnTo>
                  <a:lnTo>
                    <a:pt x="382" y="992"/>
                  </a:lnTo>
                  <a:lnTo>
                    <a:pt x="466" y="978"/>
                  </a:lnTo>
                  <a:lnTo>
                    <a:pt x="513" y="1006"/>
                  </a:lnTo>
                  <a:lnTo>
                    <a:pt x="517" y="1066"/>
                  </a:lnTo>
                  <a:lnTo>
                    <a:pt x="414" y="1071"/>
                  </a:lnTo>
                  <a:lnTo>
                    <a:pt x="470" y="1127"/>
                  </a:lnTo>
                  <a:lnTo>
                    <a:pt x="540" y="1141"/>
                  </a:lnTo>
                  <a:lnTo>
                    <a:pt x="387" y="1346"/>
                  </a:lnTo>
                  <a:lnTo>
                    <a:pt x="368" y="1471"/>
                  </a:lnTo>
                  <a:lnTo>
                    <a:pt x="400" y="1574"/>
                  </a:lnTo>
                  <a:lnTo>
                    <a:pt x="377" y="1634"/>
                  </a:lnTo>
                  <a:lnTo>
                    <a:pt x="419" y="1764"/>
                  </a:lnTo>
                  <a:lnTo>
                    <a:pt x="499" y="1854"/>
                  </a:lnTo>
                  <a:lnTo>
                    <a:pt x="522" y="1849"/>
                  </a:lnTo>
                  <a:lnTo>
                    <a:pt x="573" y="1834"/>
                  </a:lnTo>
                  <a:lnTo>
                    <a:pt x="578" y="1910"/>
                  </a:lnTo>
                  <a:lnTo>
                    <a:pt x="610" y="1956"/>
                  </a:lnTo>
                  <a:lnTo>
                    <a:pt x="670" y="1951"/>
                  </a:lnTo>
                  <a:lnTo>
                    <a:pt x="717" y="1779"/>
                  </a:lnTo>
                  <a:lnTo>
                    <a:pt x="857" y="1607"/>
                  </a:lnTo>
                  <a:lnTo>
                    <a:pt x="1066" y="1523"/>
                  </a:lnTo>
                  <a:lnTo>
                    <a:pt x="1197" y="1359"/>
                  </a:lnTo>
                  <a:lnTo>
                    <a:pt x="1257" y="1388"/>
                  </a:lnTo>
                  <a:lnTo>
                    <a:pt x="1383" y="1388"/>
                  </a:lnTo>
                  <a:lnTo>
                    <a:pt x="1485" y="1285"/>
                  </a:lnTo>
                  <a:lnTo>
                    <a:pt x="1611" y="1234"/>
                  </a:lnTo>
                  <a:lnTo>
                    <a:pt x="1625" y="1155"/>
                  </a:lnTo>
                  <a:lnTo>
                    <a:pt x="1546" y="1085"/>
                  </a:lnTo>
                  <a:lnTo>
                    <a:pt x="1476" y="1062"/>
                  </a:lnTo>
                  <a:lnTo>
                    <a:pt x="1438" y="963"/>
                  </a:lnTo>
                  <a:lnTo>
                    <a:pt x="1528" y="913"/>
                  </a:lnTo>
                  <a:lnTo>
                    <a:pt x="1667" y="987"/>
                  </a:lnTo>
                  <a:lnTo>
                    <a:pt x="1714" y="936"/>
                  </a:lnTo>
                  <a:lnTo>
                    <a:pt x="1639" y="894"/>
                  </a:lnTo>
                  <a:lnTo>
                    <a:pt x="1798" y="680"/>
                  </a:lnTo>
                  <a:lnTo>
                    <a:pt x="1769" y="587"/>
                  </a:lnTo>
                  <a:lnTo>
                    <a:pt x="1695" y="582"/>
                  </a:lnTo>
                  <a:lnTo>
                    <a:pt x="1723" y="499"/>
                  </a:lnTo>
                  <a:lnTo>
                    <a:pt x="1816" y="456"/>
                  </a:lnTo>
                  <a:lnTo>
                    <a:pt x="2007" y="288"/>
                  </a:lnTo>
                  <a:lnTo>
                    <a:pt x="1951" y="228"/>
                  </a:lnTo>
                  <a:lnTo>
                    <a:pt x="1737" y="247"/>
                  </a:lnTo>
                  <a:lnTo>
                    <a:pt x="1625" y="358"/>
                  </a:lnTo>
                  <a:lnTo>
                    <a:pt x="1690" y="214"/>
                  </a:lnTo>
                  <a:lnTo>
                    <a:pt x="1616" y="196"/>
                  </a:lnTo>
                  <a:lnTo>
                    <a:pt x="1574" y="270"/>
                  </a:lnTo>
                  <a:lnTo>
                    <a:pt x="1514" y="219"/>
                  </a:lnTo>
                  <a:lnTo>
                    <a:pt x="1346" y="238"/>
                  </a:lnTo>
                  <a:lnTo>
                    <a:pt x="1393" y="164"/>
                  </a:lnTo>
                  <a:lnTo>
                    <a:pt x="1667" y="153"/>
                  </a:lnTo>
                  <a:lnTo>
                    <a:pt x="1598" y="61"/>
                  </a:lnTo>
                  <a:lnTo>
                    <a:pt x="1299" y="5"/>
                  </a:lnTo>
                  <a:lnTo>
                    <a:pt x="1179" y="23"/>
                  </a:lnTo>
                  <a:lnTo>
                    <a:pt x="1183" y="84"/>
                  </a:lnTo>
                  <a:lnTo>
                    <a:pt x="1057" y="42"/>
                  </a:lnTo>
                  <a:lnTo>
                    <a:pt x="1062" y="0"/>
                  </a:lnTo>
                  <a:lnTo>
                    <a:pt x="974" y="18"/>
                  </a:lnTo>
                  <a:lnTo>
                    <a:pt x="954" y="65"/>
                  </a:lnTo>
                  <a:lnTo>
                    <a:pt x="1048" y="98"/>
                  </a:lnTo>
                  <a:lnTo>
                    <a:pt x="950" y="168"/>
                  </a:lnTo>
                  <a:lnTo>
                    <a:pt x="880" y="88"/>
                  </a:lnTo>
                  <a:lnTo>
                    <a:pt x="783" y="61"/>
                  </a:lnTo>
                  <a:lnTo>
                    <a:pt x="769" y="135"/>
                  </a:lnTo>
                  <a:lnTo>
                    <a:pt x="670" y="135"/>
                  </a:lnTo>
                  <a:lnTo>
                    <a:pt x="634" y="56"/>
                  </a:lnTo>
                  <a:lnTo>
                    <a:pt x="479" y="33"/>
                  </a:lnTo>
                  <a:lnTo>
                    <a:pt x="396" y="75"/>
                  </a:lnTo>
                  <a:lnTo>
                    <a:pt x="391" y="131"/>
                  </a:lnTo>
                  <a:lnTo>
                    <a:pt x="284" y="117"/>
                  </a:lnTo>
                  <a:lnTo>
                    <a:pt x="219" y="144"/>
                  </a:lnTo>
                  <a:lnTo>
                    <a:pt x="224" y="210"/>
                  </a:lnTo>
                  <a:lnTo>
                    <a:pt x="224" y="243"/>
                  </a:lnTo>
                  <a:lnTo>
                    <a:pt x="103" y="266"/>
                  </a:lnTo>
                  <a:lnTo>
                    <a:pt x="47" y="228"/>
                  </a:lnTo>
                  <a:lnTo>
                    <a:pt x="9" y="289"/>
                  </a:lnTo>
                  <a:lnTo>
                    <a:pt x="65" y="349"/>
                  </a:lnTo>
                  <a:lnTo>
                    <a:pt x="182" y="335"/>
                  </a:lnTo>
                  <a:lnTo>
                    <a:pt x="191" y="373"/>
                  </a:lnTo>
                  <a:lnTo>
                    <a:pt x="103" y="415"/>
                  </a:lnTo>
                  <a:lnTo>
                    <a:pt x="24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5"/>
            <p:cNvSpPr>
              <a:spLocks/>
            </p:cNvSpPr>
            <p:nvPr/>
          </p:nvSpPr>
          <p:spPr bwMode="auto">
            <a:xfrm>
              <a:off x="3268663" y="1368425"/>
              <a:ext cx="42863" cy="49213"/>
            </a:xfrm>
            <a:custGeom>
              <a:avLst/>
              <a:gdLst>
                <a:gd name="T0" fmla="*/ 52 w 80"/>
                <a:gd name="T1" fmla="*/ 0 h 93"/>
                <a:gd name="T2" fmla="*/ 80 w 80"/>
                <a:gd name="T3" fmla="*/ 41 h 93"/>
                <a:gd name="T4" fmla="*/ 66 w 80"/>
                <a:gd name="T5" fmla="*/ 93 h 93"/>
                <a:gd name="T6" fmla="*/ 38 w 80"/>
                <a:gd name="T7" fmla="*/ 93 h 93"/>
                <a:gd name="T8" fmla="*/ 0 w 80"/>
                <a:gd name="T9" fmla="*/ 51 h 93"/>
                <a:gd name="T10" fmla="*/ 10 w 80"/>
                <a:gd name="T11" fmla="*/ 19 h 93"/>
                <a:gd name="T12" fmla="*/ 52 w 80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93">
                  <a:moveTo>
                    <a:pt x="52" y="0"/>
                  </a:moveTo>
                  <a:lnTo>
                    <a:pt x="80" y="41"/>
                  </a:lnTo>
                  <a:lnTo>
                    <a:pt x="66" y="93"/>
                  </a:lnTo>
                  <a:lnTo>
                    <a:pt x="38" y="93"/>
                  </a:lnTo>
                  <a:lnTo>
                    <a:pt x="0" y="51"/>
                  </a:lnTo>
                  <a:lnTo>
                    <a:pt x="10" y="1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6"/>
            <p:cNvSpPr>
              <a:spLocks/>
            </p:cNvSpPr>
            <p:nvPr/>
          </p:nvSpPr>
          <p:spPr bwMode="auto">
            <a:xfrm>
              <a:off x="3897313" y="1306513"/>
              <a:ext cx="57150" cy="47625"/>
            </a:xfrm>
            <a:custGeom>
              <a:avLst/>
              <a:gdLst>
                <a:gd name="T0" fmla="*/ 28 w 107"/>
                <a:gd name="T1" fmla="*/ 0 h 89"/>
                <a:gd name="T2" fmla="*/ 107 w 107"/>
                <a:gd name="T3" fmla="*/ 23 h 89"/>
                <a:gd name="T4" fmla="*/ 102 w 107"/>
                <a:gd name="T5" fmla="*/ 89 h 89"/>
                <a:gd name="T6" fmla="*/ 19 w 107"/>
                <a:gd name="T7" fmla="*/ 46 h 89"/>
                <a:gd name="T8" fmla="*/ 0 w 107"/>
                <a:gd name="T9" fmla="*/ 23 h 89"/>
                <a:gd name="T10" fmla="*/ 28 w 107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89">
                  <a:moveTo>
                    <a:pt x="28" y="0"/>
                  </a:moveTo>
                  <a:lnTo>
                    <a:pt x="107" y="23"/>
                  </a:lnTo>
                  <a:lnTo>
                    <a:pt x="102" y="89"/>
                  </a:lnTo>
                  <a:lnTo>
                    <a:pt x="19" y="46"/>
                  </a:lnTo>
                  <a:lnTo>
                    <a:pt x="0" y="23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67"/>
            <p:cNvSpPr>
              <a:spLocks/>
            </p:cNvSpPr>
            <p:nvPr/>
          </p:nvSpPr>
          <p:spPr bwMode="auto">
            <a:xfrm>
              <a:off x="3709988" y="5707063"/>
              <a:ext cx="3405188" cy="469900"/>
            </a:xfrm>
            <a:custGeom>
              <a:avLst/>
              <a:gdLst>
                <a:gd name="T0" fmla="*/ 0 w 6434"/>
                <a:gd name="T1" fmla="*/ 889 h 889"/>
                <a:gd name="T2" fmla="*/ 65 w 6434"/>
                <a:gd name="T3" fmla="*/ 802 h 889"/>
                <a:gd name="T4" fmla="*/ 320 w 6434"/>
                <a:gd name="T5" fmla="*/ 671 h 889"/>
                <a:gd name="T6" fmla="*/ 364 w 6434"/>
                <a:gd name="T7" fmla="*/ 575 h 889"/>
                <a:gd name="T8" fmla="*/ 473 w 6434"/>
                <a:gd name="T9" fmla="*/ 554 h 889"/>
                <a:gd name="T10" fmla="*/ 575 w 6434"/>
                <a:gd name="T11" fmla="*/ 422 h 889"/>
                <a:gd name="T12" fmla="*/ 677 w 6434"/>
                <a:gd name="T13" fmla="*/ 415 h 889"/>
                <a:gd name="T14" fmla="*/ 699 w 6434"/>
                <a:gd name="T15" fmla="*/ 313 h 889"/>
                <a:gd name="T16" fmla="*/ 786 w 6434"/>
                <a:gd name="T17" fmla="*/ 247 h 889"/>
                <a:gd name="T18" fmla="*/ 859 w 6434"/>
                <a:gd name="T19" fmla="*/ 270 h 889"/>
                <a:gd name="T20" fmla="*/ 1070 w 6434"/>
                <a:gd name="T21" fmla="*/ 204 h 889"/>
                <a:gd name="T22" fmla="*/ 1122 w 6434"/>
                <a:gd name="T23" fmla="*/ 255 h 889"/>
                <a:gd name="T24" fmla="*/ 1217 w 6434"/>
                <a:gd name="T25" fmla="*/ 262 h 889"/>
                <a:gd name="T26" fmla="*/ 1304 w 6434"/>
                <a:gd name="T27" fmla="*/ 218 h 889"/>
                <a:gd name="T28" fmla="*/ 1829 w 6434"/>
                <a:gd name="T29" fmla="*/ 211 h 889"/>
                <a:gd name="T30" fmla="*/ 2018 w 6434"/>
                <a:gd name="T31" fmla="*/ 262 h 889"/>
                <a:gd name="T32" fmla="*/ 2259 w 6434"/>
                <a:gd name="T33" fmla="*/ 211 h 889"/>
                <a:gd name="T34" fmla="*/ 2339 w 6434"/>
                <a:gd name="T35" fmla="*/ 218 h 889"/>
                <a:gd name="T36" fmla="*/ 2360 w 6434"/>
                <a:gd name="T37" fmla="*/ 146 h 889"/>
                <a:gd name="T38" fmla="*/ 2441 w 6434"/>
                <a:gd name="T39" fmla="*/ 146 h 889"/>
                <a:gd name="T40" fmla="*/ 2550 w 6434"/>
                <a:gd name="T41" fmla="*/ 262 h 889"/>
                <a:gd name="T42" fmla="*/ 2754 w 6434"/>
                <a:gd name="T43" fmla="*/ 131 h 889"/>
                <a:gd name="T44" fmla="*/ 2981 w 6434"/>
                <a:gd name="T45" fmla="*/ 66 h 889"/>
                <a:gd name="T46" fmla="*/ 3061 w 6434"/>
                <a:gd name="T47" fmla="*/ 116 h 889"/>
                <a:gd name="T48" fmla="*/ 3068 w 6434"/>
                <a:gd name="T49" fmla="*/ 14 h 889"/>
                <a:gd name="T50" fmla="*/ 3185 w 6434"/>
                <a:gd name="T51" fmla="*/ 0 h 889"/>
                <a:gd name="T52" fmla="*/ 3308 w 6434"/>
                <a:gd name="T53" fmla="*/ 58 h 889"/>
                <a:gd name="T54" fmla="*/ 3308 w 6434"/>
                <a:gd name="T55" fmla="*/ 116 h 889"/>
                <a:gd name="T56" fmla="*/ 3621 w 6434"/>
                <a:gd name="T57" fmla="*/ 247 h 889"/>
                <a:gd name="T58" fmla="*/ 3709 w 6434"/>
                <a:gd name="T59" fmla="*/ 240 h 889"/>
                <a:gd name="T60" fmla="*/ 3746 w 6434"/>
                <a:gd name="T61" fmla="*/ 284 h 889"/>
                <a:gd name="T62" fmla="*/ 3643 w 6434"/>
                <a:gd name="T63" fmla="*/ 401 h 889"/>
                <a:gd name="T64" fmla="*/ 3643 w 6434"/>
                <a:gd name="T65" fmla="*/ 481 h 889"/>
                <a:gd name="T66" fmla="*/ 3738 w 6434"/>
                <a:gd name="T67" fmla="*/ 532 h 889"/>
                <a:gd name="T68" fmla="*/ 3760 w 6434"/>
                <a:gd name="T69" fmla="*/ 481 h 889"/>
                <a:gd name="T70" fmla="*/ 4190 w 6434"/>
                <a:gd name="T71" fmla="*/ 312 h 889"/>
                <a:gd name="T72" fmla="*/ 4503 w 6434"/>
                <a:gd name="T73" fmla="*/ 284 h 889"/>
                <a:gd name="T74" fmla="*/ 4569 w 6434"/>
                <a:gd name="T75" fmla="*/ 321 h 889"/>
                <a:gd name="T76" fmla="*/ 4817 w 6434"/>
                <a:gd name="T77" fmla="*/ 357 h 889"/>
                <a:gd name="T78" fmla="*/ 4875 w 6434"/>
                <a:gd name="T79" fmla="*/ 378 h 889"/>
                <a:gd name="T80" fmla="*/ 4956 w 6434"/>
                <a:gd name="T81" fmla="*/ 335 h 889"/>
                <a:gd name="T82" fmla="*/ 5072 w 6434"/>
                <a:gd name="T83" fmla="*/ 328 h 889"/>
                <a:gd name="T84" fmla="*/ 5181 w 6434"/>
                <a:gd name="T85" fmla="*/ 408 h 889"/>
                <a:gd name="T86" fmla="*/ 5188 w 6434"/>
                <a:gd name="T87" fmla="*/ 495 h 889"/>
                <a:gd name="T88" fmla="*/ 5437 w 6434"/>
                <a:gd name="T89" fmla="*/ 444 h 889"/>
                <a:gd name="T90" fmla="*/ 5473 w 6434"/>
                <a:gd name="T91" fmla="*/ 459 h 889"/>
                <a:gd name="T92" fmla="*/ 5487 w 6434"/>
                <a:gd name="T93" fmla="*/ 539 h 889"/>
                <a:gd name="T94" fmla="*/ 5713 w 6434"/>
                <a:gd name="T95" fmla="*/ 612 h 889"/>
                <a:gd name="T96" fmla="*/ 5786 w 6434"/>
                <a:gd name="T97" fmla="*/ 561 h 889"/>
                <a:gd name="T98" fmla="*/ 5794 w 6434"/>
                <a:gd name="T99" fmla="*/ 626 h 889"/>
                <a:gd name="T100" fmla="*/ 5874 w 6434"/>
                <a:gd name="T101" fmla="*/ 634 h 889"/>
                <a:gd name="T102" fmla="*/ 5983 w 6434"/>
                <a:gd name="T103" fmla="*/ 722 h 889"/>
                <a:gd name="T104" fmla="*/ 6085 w 6434"/>
                <a:gd name="T105" fmla="*/ 678 h 889"/>
                <a:gd name="T106" fmla="*/ 6172 w 6434"/>
                <a:gd name="T107" fmla="*/ 685 h 889"/>
                <a:gd name="T108" fmla="*/ 6238 w 6434"/>
                <a:gd name="T109" fmla="*/ 685 h 889"/>
                <a:gd name="T110" fmla="*/ 6282 w 6434"/>
                <a:gd name="T111" fmla="*/ 678 h 889"/>
                <a:gd name="T112" fmla="*/ 6289 w 6434"/>
                <a:gd name="T113" fmla="*/ 795 h 889"/>
                <a:gd name="T114" fmla="*/ 6434 w 6434"/>
                <a:gd name="T115" fmla="*/ 882 h 889"/>
                <a:gd name="T116" fmla="*/ 0 w 6434"/>
                <a:gd name="T117" fmla="*/ 88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34" h="889">
                  <a:moveTo>
                    <a:pt x="0" y="889"/>
                  </a:moveTo>
                  <a:lnTo>
                    <a:pt x="65" y="802"/>
                  </a:lnTo>
                  <a:lnTo>
                    <a:pt x="320" y="671"/>
                  </a:lnTo>
                  <a:lnTo>
                    <a:pt x="364" y="575"/>
                  </a:lnTo>
                  <a:lnTo>
                    <a:pt x="473" y="554"/>
                  </a:lnTo>
                  <a:lnTo>
                    <a:pt x="575" y="422"/>
                  </a:lnTo>
                  <a:lnTo>
                    <a:pt x="677" y="415"/>
                  </a:lnTo>
                  <a:lnTo>
                    <a:pt x="699" y="313"/>
                  </a:lnTo>
                  <a:lnTo>
                    <a:pt x="786" y="247"/>
                  </a:lnTo>
                  <a:lnTo>
                    <a:pt x="859" y="270"/>
                  </a:lnTo>
                  <a:lnTo>
                    <a:pt x="1070" y="204"/>
                  </a:lnTo>
                  <a:lnTo>
                    <a:pt x="1122" y="255"/>
                  </a:lnTo>
                  <a:lnTo>
                    <a:pt x="1217" y="262"/>
                  </a:lnTo>
                  <a:lnTo>
                    <a:pt x="1304" y="218"/>
                  </a:lnTo>
                  <a:lnTo>
                    <a:pt x="1829" y="211"/>
                  </a:lnTo>
                  <a:lnTo>
                    <a:pt x="2018" y="262"/>
                  </a:lnTo>
                  <a:lnTo>
                    <a:pt x="2259" y="211"/>
                  </a:lnTo>
                  <a:lnTo>
                    <a:pt x="2339" y="218"/>
                  </a:lnTo>
                  <a:lnTo>
                    <a:pt x="2360" y="146"/>
                  </a:lnTo>
                  <a:lnTo>
                    <a:pt x="2441" y="146"/>
                  </a:lnTo>
                  <a:lnTo>
                    <a:pt x="2550" y="262"/>
                  </a:lnTo>
                  <a:lnTo>
                    <a:pt x="2754" y="131"/>
                  </a:lnTo>
                  <a:lnTo>
                    <a:pt x="2981" y="66"/>
                  </a:lnTo>
                  <a:lnTo>
                    <a:pt x="3061" y="116"/>
                  </a:lnTo>
                  <a:lnTo>
                    <a:pt x="3068" y="14"/>
                  </a:lnTo>
                  <a:lnTo>
                    <a:pt x="3185" y="0"/>
                  </a:lnTo>
                  <a:lnTo>
                    <a:pt x="3308" y="58"/>
                  </a:lnTo>
                  <a:lnTo>
                    <a:pt x="3308" y="116"/>
                  </a:lnTo>
                  <a:lnTo>
                    <a:pt x="3621" y="247"/>
                  </a:lnTo>
                  <a:lnTo>
                    <a:pt x="3709" y="240"/>
                  </a:lnTo>
                  <a:lnTo>
                    <a:pt x="3746" y="284"/>
                  </a:lnTo>
                  <a:lnTo>
                    <a:pt x="3643" y="401"/>
                  </a:lnTo>
                  <a:lnTo>
                    <a:pt x="3643" y="481"/>
                  </a:lnTo>
                  <a:lnTo>
                    <a:pt x="3738" y="532"/>
                  </a:lnTo>
                  <a:lnTo>
                    <a:pt x="3760" y="481"/>
                  </a:lnTo>
                  <a:lnTo>
                    <a:pt x="4190" y="312"/>
                  </a:lnTo>
                  <a:lnTo>
                    <a:pt x="4503" y="284"/>
                  </a:lnTo>
                  <a:lnTo>
                    <a:pt x="4569" y="321"/>
                  </a:lnTo>
                  <a:lnTo>
                    <a:pt x="4817" y="357"/>
                  </a:lnTo>
                  <a:lnTo>
                    <a:pt x="4875" y="378"/>
                  </a:lnTo>
                  <a:lnTo>
                    <a:pt x="4956" y="335"/>
                  </a:lnTo>
                  <a:lnTo>
                    <a:pt x="5072" y="328"/>
                  </a:lnTo>
                  <a:lnTo>
                    <a:pt x="5181" y="408"/>
                  </a:lnTo>
                  <a:lnTo>
                    <a:pt x="5188" y="495"/>
                  </a:lnTo>
                  <a:lnTo>
                    <a:pt x="5437" y="444"/>
                  </a:lnTo>
                  <a:lnTo>
                    <a:pt x="5473" y="459"/>
                  </a:lnTo>
                  <a:lnTo>
                    <a:pt x="5487" y="539"/>
                  </a:lnTo>
                  <a:lnTo>
                    <a:pt x="5713" y="612"/>
                  </a:lnTo>
                  <a:lnTo>
                    <a:pt x="5786" y="561"/>
                  </a:lnTo>
                  <a:lnTo>
                    <a:pt x="5794" y="626"/>
                  </a:lnTo>
                  <a:lnTo>
                    <a:pt x="5874" y="634"/>
                  </a:lnTo>
                  <a:lnTo>
                    <a:pt x="5983" y="722"/>
                  </a:lnTo>
                  <a:lnTo>
                    <a:pt x="6085" y="678"/>
                  </a:lnTo>
                  <a:lnTo>
                    <a:pt x="6172" y="685"/>
                  </a:lnTo>
                  <a:lnTo>
                    <a:pt x="6238" y="685"/>
                  </a:lnTo>
                  <a:lnTo>
                    <a:pt x="6282" y="678"/>
                  </a:lnTo>
                  <a:lnTo>
                    <a:pt x="6289" y="795"/>
                  </a:lnTo>
                  <a:lnTo>
                    <a:pt x="6434" y="882"/>
                  </a:lnTo>
                  <a:lnTo>
                    <a:pt x="0" y="8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68"/>
            <p:cNvSpPr>
              <a:spLocks/>
            </p:cNvSpPr>
            <p:nvPr/>
          </p:nvSpPr>
          <p:spPr bwMode="auto">
            <a:xfrm>
              <a:off x="2544763" y="5594350"/>
              <a:ext cx="652463" cy="582613"/>
            </a:xfrm>
            <a:custGeom>
              <a:avLst/>
              <a:gdLst>
                <a:gd name="T0" fmla="*/ 0 w 1232"/>
                <a:gd name="T1" fmla="*/ 1100 h 1100"/>
                <a:gd name="T2" fmla="*/ 234 w 1232"/>
                <a:gd name="T3" fmla="*/ 1034 h 1100"/>
                <a:gd name="T4" fmla="*/ 249 w 1232"/>
                <a:gd name="T5" fmla="*/ 969 h 1100"/>
                <a:gd name="T6" fmla="*/ 497 w 1232"/>
                <a:gd name="T7" fmla="*/ 910 h 1100"/>
                <a:gd name="T8" fmla="*/ 642 w 1232"/>
                <a:gd name="T9" fmla="*/ 947 h 1100"/>
                <a:gd name="T10" fmla="*/ 962 w 1232"/>
                <a:gd name="T11" fmla="*/ 816 h 1100"/>
                <a:gd name="T12" fmla="*/ 955 w 1232"/>
                <a:gd name="T13" fmla="*/ 678 h 1100"/>
                <a:gd name="T14" fmla="*/ 861 w 1232"/>
                <a:gd name="T15" fmla="*/ 532 h 1100"/>
                <a:gd name="T16" fmla="*/ 882 w 1232"/>
                <a:gd name="T17" fmla="*/ 495 h 1100"/>
                <a:gd name="T18" fmla="*/ 846 w 1232"/>
                <a:gd name="T19" fmla="*/ 401 h 1100"/>
                <a:gd name="T20" fmla="*/ 846 w 1232"/>
                <a:gd name="T21" fmla="*/ 298 h 1100"/>
                <a:gd name="T22" fmla="*/ 905 w 1232"/>
                <a:gd name="T23" fmla="*/ 298 h 1100"/>
                <a:gd name="T24" fmla="*/ 868 w 1232"/>
                <a:gd name="T25" fmla="*/ 225 h 1100"/>
                <a:gd name="T26" fmla="*/ 1130 w 1232"/>
                <a:gd name="T27" fmla="*/ 0 h 1100"/>
                <a:gd name="T28" fmla="*/ 1123 w 1232"/>
                <a:gd name="T29" fmla="*/ 101 h 1100"/>
                <a:gd name="T30" fmla="*/ 1072 w 1232"/>
                <a:gd name="T31" fmla="*/ 116 h 1100"/>
                <a:gd name="T32" fmla="*/ 1020 w 1232"/>
                <a:gd name="T33" fmla="*/ 204 h 1100"/>
                <a:gd name="T34" fmla="*/ 1072 w 1232"/>
                <a:gd name="T35" fmla="*/ 226 h 1100"/>
                <a:gd name="T36" fmla="*/ 1020 w 1232"/>
                <a:gd name="T37" fmla="*/ 299 h 1100"/>
                <a:gd name="T38" fmla="*/ 962 w 1232"/>
                <a:gd name="T39" fmla="*/ 284 h 1100"/>
                <a:gd name="T40" fmla="*/ 933 w 1232"/>
                <a:gd name="T41" fmla="*/ 350 h 1100"/>
                <a:gd name="T42" fmla="*/ 941 w 1232"/>
                <a:gd name="T43" fmla="*/ 437 h 1100"/>
                <a:gd name="T44" fmla="*/ 1028 w 1232"/>
                <a:gd name="T45" fmla="*/ 430 h 1100"/>
                <a:gd name="T46" fmla="*/ 1086 w 1232"/>
                <a:gd name="T47" fmla="*/ 510 h 1100"/>
                <a:gd name="T48" fmla="*/ 1109 w 1232"/>
                <a:gd name="T49" fmla="*/ 612 h 1100"/>
                <a:gd name="T50" fmla="*/ 1225 w 1232"/>
                <a:gd name="T51" fmla="*/ 758 h 1100"/>
                <a:gd name="T52" fmla="*/ 1232 w 1232"/>
                <a:gd name="T53" fmla="*/ 940 h 1100"/>
                <a:gd name="T54" fmla="*/ 1189 w 1232"/>
                <a:gd name="T55" fmla="*/ 962 h 1100"/>
                <a:gd name="T56" fmla="*/ 1225 w 1232"/>
                <a:gd name="T57" fmla="*/ 1056 h 1100"/>
                <a:gd name="T58" fmla="*/ 1203 w 1232"/>
                <a:gd name="T59" fmla="*/ 1093 h 1100"/>
                <a:gd name="T60" fmla="*/ 0 w 1232"/>
                <a:gd name="T61" fmla="*/ 110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32" h="1100">
                  <a:moveTo>
                    <a:pt x="0" y="1100"/>
                  </a:moveTo>
                  <a:lnTo>
                    <a:pt x="234" y="1034"/>
                  </a:lnTo>
                  <a:lnTo>
                    <a:pt x="249" y="969"/>
                  </a:lnTo>
                  <a:lnTo>
                    <a:pt x="497" y="910"/>
                  </a:lnTo>
                  <a:lnTo>
                    <a:pt x="642" y="947"/>
                  </a:lnTo>
                  <a:lnTo>
                    <a:pt x="962" y="816"/>
                  </a:lnTo>
                  <a:lnTo>
                    <a:pt x="955" y="678"/>
                  </a:lnTo>
                  <a:lnTo>
                    <a:pt x="861" y="532"/>
                  </a:lnTo>
                  <a:lnTo>
                    <a:pt x="882" y="495"/>
                  </a:lnTo>
                  <a:lnTo>
                    <a:pt x="846" y="401"/>
                  </a:lnTo>
                  <a:lnTo>
                    <a:pt x="846" y="298"/>
                  </a:lnTo>
                  <a:lnTo>
                    <a:pt x="905" y="298"/>
                  </a:lnTo>
                  <a:lnTo>
                    <a:pt x="868" y="225"/>
                  </a:lnTo>
                  <a:lnTo>
                    <a:pt x="1130" y="0"/>
                  </a:lnTo>
                  <a:lnTo>
                    <a:pt x="1123" y="101"/>
                  </a:lnTo>
                  <a:lnTo>
                    <a:pt x="1072" y="116"/>
                  </a:lnTo>
                  <a:lnTo>
                    <a:pt x="1020" y="204"/>
                  </a:lnTo>
                  <a:lnTo>
                    <a:pt x="1072" y="226"/>
                  </a:lnTo>
                  <a:lnTo>
                    <a:pt x="1020" y="299"/>
                  </a:lnTo>
                  <a:lnTo>
                    <a:pt x="962" y="284"/>
                  </a:lnTo>
                  <a:lnTo>
                    <a:pt x="933" y="350"/>
                  </a:lnTo>
                  <a:lnTo>
                    <a:pt x="941" y="437"/>
                  </a:lnTo>
                  <a:lnTo>
                    <a:pt x="1028" y="430"/>
                  </a:lnTo>
                  <a:lnTo>
                    <a:pt x="1086" y="510"/>
                  </a:lnTo>
                  <a:lnTo>
                    <a:pt x="1109" y="612"/>
                  </a:lnTo>
                  <a:lnTo>
                    <a:pt x="1225" y="758"/>
                  </a:lnTo>
                  <a:lnTo>
                    <a:pt x="1232" y="940"/>
                  </a:lnTo>
                  <a:lnTo>
                    <a:pt x="1189" y="962"/>
                  </a:lnTo>
                  <a:lnTo>
                    <a:pt x="1225" y="1056"/>
                  </a:lnTo>
                  <a:lnTo>
                    <a:pt x="1203" y="1093"/>
                  </a:lnTo>
                  <a:lnTo>
                    <a:pt x="0" y="1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69"/>
            <p:cNvSpPr>
              <a:spLocks/>
            </p:cNvSpPr>
            <p:nvPr/>
          </p:nvSpPr>
          <p:spPr bwMode="auto">
            <a:xfrm>
              <a:off x="2387600" y="6099175"/>
              <a:ext cx="134938" cy="69850"/>
            </a:xfrm>
            <a:custGeom>
              <a:avLst/>
              <a:gdLst>
                <a:gd name="T0" fmla="*/ 131 w 255"/>
                <a:gd name="T1" fmla="*/ 15 h 132"/>
                <a:gd name="T2" fmla="*/ 218 w 255"/>
                <a:gd name="T3" fmla="*/ 0 h 132"/>
                <a:gd name="T4" fmla="*/ 255 w 255"/>
                <a:gd name="T5" fmla="*/ 29 h 132"/>
                <a:gd name="T6" fmla="*/ 240 w 255"/>
                <a:gd name="T7" fmla="*/ 66 h 132"/>
                <a:gd name="T8" fmla="*/ 233 w 255"/>
                <a:gd name="T9" fmla="*/ 109 h 132"/>
                <a:gd name="T10" fmla="*/ 183 w 255"/>
                <a:gd name="T11" fmla="*/ 132 h 132"/>
                <a:gd name="T12" fmla="*/ 146 w 255"/>
                <a:gd name="T13" fmla="*/ 88 h 132"/>
                <a:gd name="T14" fmla="*/ 0 w 255"/>
                <a:gd name="T15" fmla="*/ 88 h 132"/>
                <a:gd name="T16" fmla="*/ 0 w 255"/>
                <a:gd name="T17" fmla="*/ 59 h 132"/>
                <a:gd name="T18" fmla="*/ 66 w 255"/>
                <a:gd name="T19" fmla="*/ 44 h 132"/>
                <a:gd name="T20" fmla="*/ 131 w 255"/>
                <a:gd name="T21" fmla="*/ 1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" h="132">
                  <a:moveTo>
                    <a:pt x="131" y="15"/>
                  </a:moveTo>
                  <a:lnTo>
                    <a:pt x="218" y="0"/>
                  </a:lnTo>
                  <a:lnTo>
                    <a:pt x="255" y="29"/>
                  </a:lnTo>
                  <a:lnTo>
                    <a:pt x="240" y="66"/>
                  </a:lnTo>
                  <a:lnTo>
                    <a:pt x="233" y="109"/>
                  </a:lnTo>
                  <a:lnTo>
                    <a:pt x="183" y="132"/>
                  </a:lnTo>
                  <a:lnTo>
                    <a:pt x="146" y="88"/>
                  </a:lnTo>
                  <a:lnTo>
                    <a:pt x="0" y="88"/>
                  </a:lnTo>
                  <a:lnTo>
                    <a:pt x="0" y="59"/>
                  </a:lnTo>
                  <a:lnTo>
                    <a:pt x="66" y="44"/>
                  </a:lnTo>
                  <a:lnTo>
                    <a:pt x="13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70"/>
            <p:cNvSpPr>
              <a:spLocks/>
            </p:cNvSpPr>
            <p:nvPr/>
          </p:nvSpPr>
          <p:spPr bwMode="auto">
            <a:xfrm>
              <a:off x="2876550" y="5856288"/>
              <a:ext cx="158750" cy="174625"/>
            </a:xfrm>
            <a:custGeom>
              <a:avLst/>
              <a:gdLst>
                <a:gd name="T0" fmla="*/ 138 w 299"/>
                <a:gd name="T1" fmla="*/ 0 h 328"/>
                <a:gd name="T2" fmla="*/ 65 w 299"/>
                <a:gd name="T3" fmla="*/ 14 h 328"/>
                <a:gd name="T4" fmla="*/ 110 w 299"/>
                <a:gd name="T5" fmla="*/ 94 h 328"/>
                <a:gd name="T6" fmla="*/ 161 w 299"/>
                <a:gd name="T7" fmla="*/ 117 h 328"/>
                <a:gd name="T8" fmla="*/ 138 w 299"/>
                <a:gd name="T9" fmla="*/ 160 h 328"/>
                <a:gd name="T10" fmla="*/ 138 w 299"/>
                <a:gd name="T11" fmla="*/ 190 h 328"/>
                <a:gd name="T12" fmla="*/ 0 w 299"/>
                <a:gd name="T13" fmla="*/ 226 h 328"/>
                <a:gd name="T14" fmla="*/ 15 w 299"/>
                <a:gd name="T15" fmla="*/ 270 h 328"/>
                <a:gd name="T16" fmla="*/ 73 w 299"/>
                <a:gd name="T17" fmla="*/ 291 h 328"/>
                <a:gd name="T18" fmla="*/ 138 w 299"/>
                <a:gd name="T19" fmla="*/ 241 h 328"/>
                <a:gd name="T20" fmla="*/ 196 w 299"/>
                <a:gd name="T21" fmla="*/ 255 h 328"/>
                <a:gd name="T22" fmla="*/ 160 w 299"/>
                <a:gd name="T23" fmla="*/ 314 h 328"/>
                <a:gd name="T24" fmla="*/ 182 w 299"/>
                <a:gd name="T25" fmla="*/ 328 h 328"/>
                <a:gd name="T26" fmla="*/ 248 w 299"/>
                <a:gd name="T27" fmla="*/ 298 h 328"/>
                <a:gd name="T28" fmla="*/ 299 w 299"/>
                <a:gd name="T29" fmla="*/ 204 h 328"/>
                <a:gd name="T30" fmla="*/ 138 w 299"/>
                <a:gd name="T3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9" h="328">
                  <a:moveTo>
                    <a:pt x="138" y="0"/>
                  </a:moveTo>
                  <a:lnTo>
                    <a:pt x="65" y="14"/>
                  </a:lnTo>
                  <a:lnTo>
                    <a:pt x="110" y="94"/>
                  </a:lnTo>
                  <a:lnTo>
                    <a:pt x="161" y="117"/>
                  </a:lnTo>
                  <a:lnTo>
                    <a:pt x="138" y="160"/>
                  </a:lnTo>
                  <a:lnTo>
                    <a:pt x="138" y="190"/>
                  </a:lnTo>
                  <a:lnTo>
                    <a:pt x="0" y="226"/>
                  </a:lnTo>
                  <a:lnTo>
                    <a:pt x="15" y="270"/>
                  </a:lnTo>
                  <a:lnTo>
                    <a:pt x="73" y="291"/>
                  </a:lnTo>
                  <a:lnTo>
                    <a:pt x="138" y="241"/>
                  </a:lnTo>
                  <a:lnTo>
                    <a:pt x="196" y="255"/>
                  </a:lnTo>
                  <a:lnTo>
                    <a:pt x="160" y="314"/>
                  </a:lnTo>
                  <a:lnTo>
                    <a:pt x="182" y="328"/>
                  </a:lnTo>
                  <a:lnTo>
                    <a:pt x="248" y="298"/>
                  </a:lnTo>
                  <a:lnTo>
                    <a:pt x="299" y="204"/>
                  </a:ln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71"/>
            <p:cNvSpPr>
              <a:spLocks/>
            </p:cNvSpPr>
            <p:nvPr/>
          </p:nvSpPr>
          <p:spPr bwMode="auto">
            <a:xfrm>
              <a:off x="2838450" y="6030913"/>
              <a:ext cx="96838" cy="41275"/>
            </a:xfrm>
            <a:custGeom>
              <a:avLst/>
              <a:gdLst>
                <a:gd name="T0" fmla="*/ 59 w 183"/>
                <a:gd name="T1" fmla="*/ 0 h 80"/>
                <a:gd name="T2" fmla="*/ 0 w 183"/>
                <a:gd name="T3" fmla="*/ 51 h 80"/>
                <a:gd name="T4" fmla="*/ 51 w 183"/>
                <a:gd name="T5" fmla="*/ 66 h 80"/>
                <a:gd name="T6" fmla="*/ 117 w 183"/>
                <a:gd name="T7" fmla="*/ 80 h 80"/>
                <a:gd name="T8" fmla="*/ 183 w 183"/>
                <a:gd name="T9" fmla="*/ 36 h 80"/>
                <a:gd name="T10" fmla="*/ 117 w 183"/>
                <a:gd name="T11" fmla="*/ 22 h 80"/>
                <a:gd name="T12" fmla="*/ 59 w 183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80">
                  <a:moveTo>
                    <a:pt x="59" y="0"/>
                  </a:moveTo>
                  <a:lnTo>
                    <a:pt x="0" y="51"/>
                  </a:lnTo>
                  <a:lnTo>
                    <a:pt x="51" y="66"/>
                  </a:lnTo>
                  <a:lnTo>
                    <a:pt x="117" y="80"/>
                  </a:lnTo>
                  <a:lnTo>
                    <a:pt x="183" y="36"/>
                  </a:lnTo>
                  <a:lnTo>
                    <a:pt x="117" y="22"/>
                  </a:lnTo>
                  <a:lnTo>
                    <a:pt x="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72"/>
            <p:cNvSpPr>
              <a:spLocks/>
            </p:cNvSpPr>
            <p:nvPr/>
          </p:nvSpPr>
          <p:spPr bwMode="auto">
            <a:xfrm>
              <a:off x="3057525" y="5573713"/>
              <a:ext cx="42863" cy="28575"/>
            </a:xfrm>
            <a:custGeom>
              <a:avLst/>
              <a:gdLst>
                <a:gd name="T0" fmla="*/ 52 w 82"/>
                <a:gd name="T1" fmla="*/ 0 h 52"/>
                <a:gd name="T2" fmla="*/ 10 w 82"/>
                <a:gd name="T3" fmla="*/ 8 h 52"/>
                <a:gd name="T4" fmla="*/ 0 w 82"/>
                <a:gd name="T5" fmla="*/ 52 h 52"/>
                <a:gd name="T6" fmla="*/ 82 w 82"/>
                <a:gd name="T7" fmla="*/ 40 h 52"/>
                <a:gd name="T8" fmla="*/ 52 w 82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2">
                  <a:moveTo>
                    <a:pt x="52" y="0"/>
                  </a:moveTo>
                  <a:lnTo>
                    <a:pt x="10" y="8"/>
                  </a:lnTo>
                  <a:lnTo>
                    <a:pt x="0" y="52"/>
                  </a:lnTo>
                  <a:lnTo>
                    <a:pt x="82" y="40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73"/>
            <p:cNvSpPr>
              <a:spLocks/>
            </p:cNvSpPr>
            <p:nvPr/>
          </p:nvSpPr>
          <p:spPr bwMode="auto">
            <a:xfrm>
              <a:off x="3095625" y="5538788"/>
              <a:ext cx="38100" cy="25400"/>
            </a:xfrm>
            <a:custGeom>
              <a:avLst/>
              <a:gdLst>
                <a:gd name="T0" fmla="*/ 50 w 72"/>
                <a:gd name="T1" fmla="*/ 0 h 50"/>
                <a:gd name="T2" fmla="*/ 0 w 72"/>
                <a:gd name="T3" fmla="*/ 10 h 50"/>
                <a:gd name="T4" fmla="*/ 9 w 72"/>
                <a:gd name="T5" fmla="*/ 50 h 50"/>
                <a:gd name="T6" fmla="*/ 72 w 72"/>
                <a:gd name="T7" fmla="*/ 48 h 50"/>
                <a:gd name="T8" fmla="*/ 50 w 72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0">
                  <a:moveTo>
                    <a:pt x="50" y="0"/>
                  </a:moveTo>
                  <a:lnTo>
                    <a:pt x="0" y="10"/>
                  </a:lnTo>
                  <a:lnTo>
                    <a:pt x="9" y="50"/>
                  </a:lnTo>
                  <a:lnTo>
                    <a:pt x="72" y="48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74"/>
            <p:cNvSpPr>
              <a:spLocks/>
            </p:cNvSpPr>
            <p:nvPr/>
          </p:nvSpPr>
          <p:spPr bwMode="auto">
            <a:xfrm>
              <a:off x="3163888" y="5580063"/>
              <a:ext cx="34925" cy="33338"/>
            </a:xfrm>
            <a:custGeom>
              <a:avLst/>
              <a:gdLst>
                <a:gd name="T0" fmla="*/ 0 w 64"/>
                <a:gd name="T1" fmla="*/ 0 h 63"/>
                <a:gd name="T2" fmla="*/ 1 w 64"/>
                <a:gd name="T3" fmla="*/ 62 h 63"/>
                <a:gd name="T4" fmla="*/ 36 w 64"/>
                <a:gd name="T5" fmla="*/ 63 h 63"/>
                <a:gd name="T6" fmla="*/ 64 w 64"/>
                <a:gd name="T7" fmla="*/ 17 h 63"/>
                <a:gd name="T8" fmla="*/ 0 w 64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3">
                  <a:moveTo>
                    <a:pt x="0" y="0"/>
                  </a:moveTo>
                  <a:lnTo>
                    <a:pt x="1" y="62"/>
                  </a:lnTo>
                  <a:lnTo>
                    <a:pt x="36" y="63"/>
                  </a:lnTo>
                  <a:lnTo>
                    <a:pt x="64" y="1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75"/>
            <p:cNvSpPr>
              <a:spLocks/>
            </p:cNvSpPr>
            <p:nvPr/>
          </p:nvSpPr>
          <p:spPr bwMode="auto">
            <a:xfrm>
              <a:off x="3149600" y="5491163"/>
              <a:ext cx="44450" cy="31750"/>
            </a:xfrm>
            <a:custGeom>
              <a:avLst/>
              <a:gdLst>
                <a:gd name="T0" fmla="*/ 47 w 86"/>
                <a:gd name="T1" fmla="*/ 0 h 61"/>
                <a:gd name="T2" fmla="*/ 10 w 86"/>
                <a:gd name="T3" fmla="*/ 14 h 61"/>
                <a:gd name="T4" fmla="*/ 0 w 86"/>
                <a:gd name="T5" fmla="*/ 49 h 61"/>
                <a:gd name="T6" fmla="*/ 32 w 86"/>
                <a:gd name="T7" fmla="*/ 61 h 61"/>
                <a:gd name="T8" fmla="*/ 86 w 86"/>
                <a:gd name="T9" fmla="*/ 24 h 61"/>
                <a:gd name="T10" fmla="*/ 47 w 86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61">
                  <a:moveTo>
                    <a:pt x="47" y="0"/>
                  </a:moveTo>
                  <a:lnTo>
                    <a:pt x="10" y="14"/>
                  </a:lnTo>
                  <a:lnTo>
                    <a:pt x="0" y="49"/>
                  </a:lnTo>
                  <a:lnTo>
                    <a:pt x="32" y="61"/>
                  </a:lnTo>
                  <a:lnTo>
                    <a:pt x="86" y="24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76"/>
            <p:cNvSpPr>
              <a:spLocks/>
            </p:cNvSpPr>
            <p:nvPr/>
          </p:nvSpPr>
          <p:spPr bwMode="auto">
            <a:xfrm>
              <a:off x="7045325" y="3984625"/>
              <a:ext cx="1038225" cy="969963"/>
            </a:xfrm>
            <a:custGeom>
              <a:avLst/>
              <a:gdLst>
                <a:gd name="T0" fmla="*/ 80 w 1963"/>
                <a:gd name="T1" fmla="*/ 803 h 1832"/>
                <a:gd name="T2" fmla="*/ 73 w 1963"/>
                <a:gd name="T3" fmla="*/ 1238 h 1832"/>
                <a:gd name="T4" fmla="*/ 6 w 1963"/>
                <a:gd name="T5" fmla="*/ 1286 h 1832"/>
                <a:gd name="T6" fmla="*/ 0 w 1963"/>
                <a:gd name="T7" fmla="*/ 1329 h 1832"/>
                <a:gd name="T8" fmla="*/ 92 w 1963"/>
                <a:gd name="T9" fmla="*/ 1391 h 1832"/>
                <a:gd name="T10" fmla="*/ 316 w 1963"/>
                <a:gd name="T11" fmla="*/ 1347 h 1832"/>
                <a:gd name="T12" fmla="*/ 432 w 1963"/>
                <a:gd name="T13" fmla="*/ 1347 h 1832"/>
                <a:gd name="T14" fmla="*/ 474 w 1963"/>
                <a:gd name="T15" fmla="*/ 1286 h 1832"/>
                <a:gd name="T16" fmla="*/ 729 w 1963"/>
                <a:gd name="T17" fmla="*/ 1238 h 1832"/>
                <a:gd name="T18" fmla="*/ 912 w 1963"/>
                <a:gd name="T19" fmla="*/ 1293 h 1832"/>
                <a:gd name="T20" fmla="*/ 900 w 1963"/>
                <a:gd name="T21" fmla="*/ 1366 h 1832"/>
                <a:gd name="T22" fmla="*/ 924 w 1963"/>
                <a:gd name="T23" fmla="*/ 1440 h 1832"/>
                <a:gd name="T24" fmla="*/ 1063 w 1963"/>
                <a:gd name="T25" fmla="*/ 1415 h 1832"/>
                <a:gd name="T26" fmla="*/ 1069 w 1963"/>
                <a:gd name="T27" fmla="*/ 1452 h 1832"/>
                <a:gd name="T28" fmla="*/ 979 w 1963"/>
                <a:gd name="T29" fmla="*/ 1519 h 1832"/>
                <a:gd name="T30" fmla="*/ 1008 w 1963"/>
                <a:gd name="T31" fmla="*/ 1543 h 1832"/>
                <a:gd name="T32" fmla="*/ 1075 w 1963"/>
                <a:gd name="T33" fmla="*/ 1519 h 1832"/>
                <a:gd name="T34" fmla="*/ 1057 w 1963"/>
                <a:gd name="T35" fmla="*/ 1721 h 1832"/>
                <a:gd name="T36" fmla="*/ 1185 w 1963"/>
                <a:gd name="T37" fmla="*/ 1819 h 1832"/>
                <a:gd name="T38" fmla="*/ 1258 w 1963"/>
                <a:gd name="T39" fmla="*/ 1795 h 1832"/>
                <a:gd name="T40" fmla="*/ 1294 w 1963"/>
                <a:gd name="T41" fmla="*/ 1832 h 1832"/>
                <a:gd name="T42" fmla="*/ 1507 w 1963"/>
                <a:gd name="T43" fmla="*/ 1801 h 1832"/>
                <a:gd name="T44" fmla="*/ 1708 w 1963"/>
                <a:gd name="T45" fmla="*/ 1476 h 1832"/>
                <a:gd name="T46" fmla="*/ 1781 w 1963"/>
                <a:gd name="T47" fmla="*/ 1458 h 1832"/>
                <a:gd name="T48" fmla="*/ 1927 w 1963"/>
                <a:gd name="T49" fmla="*/ 1188 h 1832"/>
                <a:gd name="T50" fmla="*/ 1963 w 1963"/>
                <a:gd name="T51" fmla="*/ 955 h 1832"/>
                <a:gd name="T52" fmla="*/ 1872 w 1963"/>
                <a:gd name="T53" fmla="*/ 840 h 1832"/>
                <a:gd name="T54" fmla="*/ 1908 w 1963"/>
                <a:gd name="T55" fmla="*/ 815 h 1832"/>
                <a:gd name="T56" fmla="*/ 1835 w 1963"/>
                <a:gd name="T57" fmla="*/ 588 h 1832"/>
                <a:gd name="T58" fmla="*/ 1756 w 1963"/>
                <a:gd name="T59" fmla="*/ 533 h 1832"/>
                <a:gd name="T60" fmla="*/ 1768 w 1963"/>
                <a:gd name="T61" fmla="*/ 227 h 1832"/>
                <a:gd name="T62" fmla="*/ 1695 w 1963"/>
                <a:gd name="T63" fmla="*/ 172 h 1832"/>
                <a:gd name="T64" fmla="*/ 1677 w 1963"/>
                <a:gd name="T65" fmla="*/ 0 h 1832"/>
                <a:gd name="T66" fmla="*/ 1641 w 1963"/>
                <a:gd name="T67" fmla="*/ 0 h 1832"/>
                <a:gd name="T68" fmla="*/ 1519 w 1963"/>
                <a:gd name="T69" fmla="*/ 404 h 1832"/>
                <a:gd name="T70" fmla="*/ 1453 w 1963"/>
                <a:gd name="T71" fmla="*/ 410 h 1832"/>
                <a:gd name="T72" fmla="*/ 1301 w 1963"/>
                <a:gd name="T73" fmla="*/ 257 h 1832"/>
                <a:gd name="T74" fmla="*/ 1386 w 1963"/>
                <a:gd name="T75" fmla="*/ 31 h 1832"/>
                <a:gd name="T76" fmla="*/ 1227 w 1963"/>
                <a:gd name="T77" fmla="*/ 0 h 1832"/>
                <a:gd name="T78" fmla="*/ 1052 w 1963"/>
                <a:gd name="T79" fmla="*/ 49 h 1832"/>
                <a:gd name="T80" fmla="*/ 1003 w 1963"/>
                <a:gd name="T81" fmla="*/ 190 h 1832"/>
                <a:gd name="T82" fmla="*/ 924 w 1963"/>
                <a:gd name="T83" fmla="*/ 208 h 1832"/>
                <a:gd name="T84" fmla="*/ 918 w 1963"/>
                <a:gd name="T85" fmla="*/ 111 h 1832"/>
                <a:gd name="T86" fmla="*/ 596 w 1963"/>
                <a:gd name="T87" fmla="*/ 307 h 1832"/>
                <a:gd name="T88" fmla="*/ 602 w 1963"/>
                <a:gd name="T89" fmla="*/ 380 h 1832"/>
                <a:gd name="T90" fmla="*/ 554 w 1963"/>
                <a:gd name="T91" fmla="*/ 447 h 1832"/>
                <a:gd name="T92" fmla="*/ 432 w 1963"/>
                <a:gd name="T93" fmla="*/ 447 h 1832"/>
                <a:gd name="T94" fmla="*/ 171 w 1963"/>
                <a:gd name="T95" fmla="*/ 558 h 1832"/>
                <a:gd name="T96" fmla="*/ 80 w 1963"/>
                <a:gd name="T97" fmla="*/ 803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63" h="1832">
                  <a:moveTo>
                    <a:pt x="80" y="803"/>
                  </a:moveTo>
                  <a:lnTo>
                    <a:pt x="73" y="1238"/>
                  </a:lnTo>
                  <a:lnTo>
                    <a:pt x="6" y="1286"/>
                  </a:lnTo>
                  <a:lnTo>
                    <a:pt x="0" y="1329"/>
                  </a:lnTo>
                  <a:lnTo>
                    <a:pt x="92" y="1391"/>
                  </a:lnTo>
                  <a:lnTo>
                    <a:pt x="316" y="1347"/>
                  </a:lnTo>
                  <a:lnTo>
                    <a:pt x="432" y="1347"/>
                  </a:lnTo>
                  <a:lnTo>
                    <a:pt x="474" y="1286"/>
                  </a:lnTo>
                  <a:lnTo>
                    <a:pt x="729" y="1238"/>
                  </a:lnTo>
                  <a:lnTo>
                    <a:pt x="912" y="1293"/>
                  </a:lnTo>
                  <a:lnTo>
                    <a:pt x="900" y="1366"/>
                  </a:lnTo>
                  <a:lnTo>
                    <a:pt x="924" y="1440"/>
                  </a:lnTo>
                  <a:lnTo>
                    <a:pt x="1063" y="1415"/>
                  </a:lnTo>
                  <a:lnTo>
                    <a:pt x="1069" y="1452"/>
                  </a:lnTo>
                  <a:lnTo>
                    <a:pt x="979" y="1519"/>
                  </a:lnTo>
                  <a:lnTo>
                    <a:pt x="1008" y="1543"/>
                  </a:lnTo>
                  <a:lnTo>
                    <a:pt x="1075" y="1519"/>
                  </a:lnTo>
                  <a:lnTo>
                    <a:pt x="1057" y="1721"/>
                  </a:lnTo>
                  <a:lnTo>
                    <a:pt x="1185" y="1819"/>
                  </a:lnTo>
                  <a:lnTo>
                    <a:pt x="1258" y="1795"/>
                  </a:lnTo>
                  <a:lnTo>
                    <a:pt x="1294" y="1832"/>
                  </a:lnTo>
                  <a:lnTo>
                    <a:pt x="1507" y="1801"/>
                  </a:lnTo>
                  <a:lnTo>
                    <a:pt x="1708" y="1476"/>
                  </a:lnTo>
                  <a:lnTo>
                    <a:pt x="1781" y="1458"/>
                  </a:lnTo>
                  <a:lnTo>
                    <a:pt x="1927" y="1188"/>
                  </a:lnTo>
                  <a:lnTo>
                    <a:pt x="1963" y="955"/>
                  </a:lnTo>
                  <a:lnTo>
                    <a:pt x="1872" y="840"/>
                  </a:lnTo>
                  <a:lnTo>
                    <a:pt x="1908" y="815"/>
                  </a:lnTo>
                  <a:lnTo>
                    <a:pt x="1835" y="588"/>
                  </a:lnTo>
                  <a:lnTo>
                    <a:pt x="1756" y="533"/>
                  </a:lnTo>
                  <a:lnTo>
                    <a:pt x="1768" y="227"/>
                  </a:lnTo>
                  <a:lnTo>
                    <a:pt x="1695" y="172"/>
                  </a:lnTo>
                  <a:lnTo>
                    <a:pt x="1677" y="0"/>
                  </a:lnTo>
                  <a:lnTo>
                    <a:pt x="1641" y="0"/>
                  </a:lnTo>
                  <a:lnTo>
                    <a:pt x="1519" y="404"/>
                  </a:lnTo>
                  <a:lnTo>
                    <a:pt x="1453" y="410"/>
                  </a:lnTo>
                  <a:lnTo>
                    <a:pt x="1301" y="257"/>
                  </a:lnTo>
                  <a:lnTo>
                    <a:pt x="1386" y="31"/>
                  </a:lnTo>
                  <a:lnTo>
                    <a:pt x="1227" y="0"/>
                  </a:lnTo>
                  <a:lnTo>
                    <a:pt x="1052" y="49"/>
                  </a:lnTo>
                  <a:lnTo>
                    <a:pt x="1003" y="190"/>
                  </a:lnTo>
                  <a:lnTo>
                    <a:pt x="924" y="208"/>
                  </a:lnTo>
                  <a:lnTo>
                    <a:pt x="918" y="111"/>
                  </a:lnTo>
                  <a:lnTo>
                    <a:pt x="596" y="307"/>
                  </a:lnTo>
                  <a:lnTo>
                    <a:pt x="602" y="380"/>
                  </a:lnTo>
                  <a:lnTo>
                    <a:pt x="554" y="447"/>
                  </a:lnTo>
                  <a:lnTo>
                    <a:pt x="432" y="447"/>
                  </a:lnTo>
                  <a:lnTo>
                    <a:pt x="171" y="558"/>
                  </a:lnTo>
                  <a:lnTo>
                    <a:pt x="80" y="8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77"/>
            <p:cNvSpPr>
              <a:spLocks/>
            </p:cNvSpPr>
            <p:nvPr/>
          </p:nvSpPr>
          <p:spPr bwMode="auto">
            <a:xfrm>
              <a:off x="7656513" y="5029200"/>
              <a:ext cx="106363" cy="109538"/>
            </a:xfrm>
            <a:custGeom>
              <a:avLst/>
              <a:gdLst>
                <a:gd name="T0" fmla="*/ 31 w 201"/>
                <a:gd name="T1" fmla="*/ 0 h 208"/>
                <a:gd name="T2" fmla="*/ 0 w 201"/>
                <a:gd name="T3" fmla="*/ 121 h 208"/>
                <a:gd name="T4" fmla="*/ 6 w 201"/>
                <a:gd name="T5" fmla="*/ 208 h 208"/>
                <a:gd name="T6" fmla="*/ 98 w 201"/>
                <a:gd name="T7" fmla="*/ 202 h 208"/>
                <a:gd name="T8" fmla="*/ 201 w 201"/>
                <a:gd name="T9" fmla="*/ 42 h 208"/>
                <a:gd name="T10" fmla="*/ 31 w 201"/>
                <a:gd name="T1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208">
                  <a:moveTo>
                    <a:pt x="31" y="0"/>
                  </a:moveTo>
                  <a:lnTo>
                    <a:pt x="0" y="121"/>
                  </a:lnTo>
                  <a:lnTo>
                    <a:pt x="6" y="208"/>
                  </a:lnTo>
                  <a:lnTo>
                    <a:pt x="98" y="202"/>
                  </a:lnTo>
                  <a:lnTo>
                    <a:pt x="201" y="42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78"/>
            <p:cNvSpPr>
              <a:spLocks/>
            </p:cNvSpPr>
            <p:nvPr/>
          </p:nvSpPr>
          <p:spPr bwMode="auto">
            <a:xfrm>
              <a:off x="8412163" y="4899025"/>
              <a:ext cx="147638" cy="293688"/>
            </a:xfrm>
            <a:custGeom>
              <a:avLst/>
              <a:gdLst>
                <a:gd name="T0" fmla="*/ 98 w 280"/>
                <a:gd name="T1" fmla="*/ 0 h 557"/>
                <a:gd name="T2" fmla="*/ 116 w 280"/>
                <a:gd name="T3" fmla="*/ 203 h 557"/>
                <a:gd name="T4" fmla="*/ 92 w 280"/>
                <a:gd name="T5" fmla="*/ 294 h 557"/>
                <a:gd name="T6" fmla="*/ 0 w 280"/>
                <a:gd name="T7" fmla="*/ 361 h 557"/>
                <a:gd name="T8" fmla="*/ 6 w 280"/>
                <a:gd name="T9" fmla="*/ 442 h 557"/>
                <a:gd name="T10" fmla="*/ 6 w 280"/>
                <a:gd name="T11" fmla="*/ 527 h 557"/>
                <a:gd name="T12" fmla="*/ 31 w 280"/>
                <a:gd name="T13" fmla="*/ 557 h 557"/>
                <a:gd name="T14" fmla="*/ 280 w 280"/>
                <a:gd name="T15" fmla="*/ 343 h 557"/>
                <a:gd name="T16" fmla="*/ 280 w 280"/>
                <a:gd name="T17" fmla="*/ 294 h 557"/>
                <a:gd name="T18" fmla="*/ 219 w 280"/>
                <a:gd name="T19" fmla="*/ 294 h 557"/>
                <a:gd name="T20" fmla="*/ 134 w 280"/>
                <a:gd name="T21" fmla="*/ 7 h 557"/>
                <a:gd name="T22" fmla="*/ 98 w 280"/>
                <a:gd name="T23" fmla="*/ 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0" h="557">
                  <a:moveTo>
                    <a:pt x="98" y="0"/>
                  </a:moveTo>
                  <a:lnTo>
                    <a:pt x="116" y="203"/>
                  </a:lnTo>
                  <a:lnTo>
                    <a:pt x="92" y="294"/>
                  </a:lnTo>
                  <a:lnTo>
                    <a:pt x="0" y="361"/>
                  </a:lnTo>
                  <a:lnTo>
                    <a:pt x="6" y="442"/>
                  </a:lnTo>
                  <a:lnTo>
                    <a:pt x="6" y="527"/>
                  </a:lnTo>
                  <a:lnTo>
                    <a:pt x="31" y="557"/>
                  </a:lnTo>
                  <a:lnTo>
                    <a:pt x="280" y="343"/>
                  </a:lnTo>
                  <a:lnTo>
                    <a:pt x="280" y="294"/>
                  </a:lnTo>
                  <a:lnTo>
                    <a:pt x="219" y="294"/>
                  </a:lnTo>
                  <a:lnTo>
                    <a:pt x="134" y="7"/>
                  </a:lnTo>
                  <a:lnTo>
                    <a:pt x="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79"/>
            <p:cNvSpPr>
              <a:spLocks/>
            </p:cNvSpPr>
            <p:nvPr/>
          </p:nvSpPr>
          <p:spPr bwMode="auto">
            <a:xfrm>
              <a:off x="8105775" y="5132388"/>
              <a:ext cx="287338" cy="233363"/>
            </a:xfrm>
            <a:custGeom>
              <a:avLst/>
              <a:gdLst>
                <a:gd name="T0" fmla="*/ 492 w 541"/>
                <a:gd name="T1" fmla="*/ 0 h 440"/>
                <a:gd name="T2" fmla="*/ 541 w 541"/>
                <a:gd name="T3" fmla="*/ 91 h 440"/>
                <a:gd name="T4" fmla="*/ 407 w 541"/>
                <a:gd name="T5" fmla="*/ 220 h 440"/>
                <a:gd name="T6" fmla="*/ 395 w 541"/>
                <a:gd name="T7" fmla="*/ 287 h 440"/>
                <a:gd name="T8" fmla="*/ 304 w 541"/>
                <a:gd name="T9" fmla="*/ 299 h 440"/>
                <a:gd name="T10" fmla="*/ 152 w 541"/>
                <a:gd name="T11" fmla="*/ 440 h 440"/>
                <a:gd name="T12" fmla="*/ 12 w 541"/>
                <a:gd name="T13" fmla="*/ 373 h 440"/>
                <a:gd name="T14" fmla="*/ 0 w 541"/>
                <a:gd name="T15" fmla="*/ 323 h 440"/>
                <a:gd name="T16" fmla="*/ 256 w 541"/>
                <a:gd name="T17" fmla="*/ 214 h 440"/>
                <a:gd name="T18" fmla="*/ 492 w 541"/>
                <a:gd name="T19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1" h="440">
                  <a:moveTo>
                    <a:pt x="492" y="0"/>
                  </a:moveTo>
                  <a:lnTo>
                    <a:pt x="541" y="91"/>
                  </a:lnTo>
                  <a:lnTo>
                    <a:pt x="407" y="220"/>
                  </a:lnTo>
                  <a:lnTo>
                    <a:pt x="395" y="287"/>
                  </a:lnTo>
                  <a:lnTo>
                    <a:pt x="304" y="299"/>
                  </a:lnTo>
                  <a:lnTo>
                    <a:pt x="152" y="440"/>
                  </a:lnTo>
                  <a:lnTo>
                    <a:pt x="12" y="373"/>
                  </a:lnTo>
                  <a:lnTo>
                    <a:pt x="0" y="323"/>
                  </a:lnTo>
                  <a:lnTo>
                    <a:pt x="256" y="214"/>
                  </a:lnTo>
                  <a:lnTo>
                    <a:pt x="4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80"/>
            <p:cNvSpPr>
              <a:spLocks/>
            </p:cNvSpPr>
            <p:nvPr/>
          </p:nvSpPr>
          <p:spPr bwMode="auto">
            <a:xfrm>
              <a:off x="8402638" y="4341813"/>
              <a:ext cx="66675" cy="84138"/>
            </a:xfrm>
            <a:custGeom>
              <a:avLst/>
              <a:gdLst>
                <a:gd name="T0" fmla="*/ 6 w 128"/>
                <a:gd name="T1" fmla="*/ 0 h 160"/>
                <a:gd name="T2" fmla="*/ 0 w 128"/>
                <a:gd name="T3" fmla="*/ 31 h 160"/>
                <a:gd name="T4" fmla="*/ 79 w 128"/>
                <a:gd name="T5" fmla="*/ 141 h 160"/>
                <a:gd name="T6" fmla="*/ 122 w 128"/>
                <a:gd name="T7" fmla="*/ 160 h 160"/>
                <a:gd name="T8" fmla="*/ 128 w 128"/>
                <a:gd name="T9" fmla="*/ 117 h 160"/>
                <a:gd name="T10" fmla="*/ 6 w 128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60">
                  <a:moveTo>
                    <a:pt x="6" y="0"/>
                  </a:moveTo>
                  <a:lnTo>
                    <a:pt x="0" y="31"/>
                  </a:lnTo>
                  <a:lnTo>
                    <a:pt x="79" y="141"/>
                  </a:lnTo>
                  <a:lnTo>
                    <a:pt x="122" y="160"/>
                  </a:lnTo>
                  <a:lnTo>
                    <a:pt x="128" y="117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81"/>
            <p:cNvSpPr>
              <a:spLocks/>
            </p:cNvSpPr>
            <p:nvPr/>
          </p:nvSpPr>
          <p:spPr bwMode="auto">
            <a:xfrm>
              <a:off x="6734175" y="3408363"/>
              <a:ext cx="284163" cy="344488"/>
            </a:xfrm>
            <a:custGeom>
              <a:avLst/>
              <a:gdLst>
                <a:gd name="T0" fmla="*/ 5 w 538"/>
                <a:gd name="T1" fmla="*/ 0 h 650"/>
                <a:gd name="T2" fmla="*/ 0 w 538"/>
                <a:gd name="T3" fmla="*/ 39 h 650"/>
                <a:gd name="T4" fmla="*/ 116 w 538"/>
                <a:gd name="T5" fmla="*/ 235 h 650"/>
                <a:gd name="T6" fmla="*/ 150 w 538"/>
                <a:gd name="T7" fmla="*/ 235 h 650"/>
                <a:gd name="T8" fmla="*/ 393 w 538"/>
                <a:gd name="T9" fmla="*/ 640 h 650"/>
                <a:gd name="T10" fmla="*/ 489 w 538"/>
                <a:gd name="T11" fmla="*/ 650 h 650"/>
                <a:gd name="T12" fmla="*/ 538 w 538"/>
                <a:gd name="T13" fmla="*/ 508 h 650"/>
                <a:gd name="T14" fmla="*/ 461 w 538"/>
                <a:gd name="T15" fmla="*/ 459 h 650"/>
                <a:gd name="T16" fmla="*/ 445 w 538"/>
                <a:gd name="T17" fmla="*/ 381 h 650"/>
                <a:gd name="T18" fmla="*/ 5 w 538"/>
                <a:gd name="T19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8" h="650">
                  <a:moveTo>
                    <a:pt x="5" y="0"/>
                  </a:moveTo>
                  <a:lnTo>
                    <a:pt x="0" y="39"/>
                  </a:lnTo>
                  <a:lnTo>
                    <a:pt x="116" y="235"/>
                  </a:lnTo>
                  <a:lnTo>
                    <a:pt x="150" y="235"/>
                  </a:lnTo>
                  <a:lnTo>
                    <a:pt x="393" y="640"/>
                  </a:lnTo>
                  <a:lnTo>
                    <a:pt x="489" y="650"/>
                  </a:lnTo>
                  <a:lnTo>
                    <a:pt x="538" y="508"/>
                  </a:lnTo>
                  <a:lnTo>
                    <a:pt x="461" y="459"/>
                  </a:lnTo>
                  <a:lnTo>
                    <a:pt x="445" y="381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82"/>
            <p:cNvSpPr>
              <a:spLocks/>
            </p:cNvSpPr>
            <p:nvPr/>
          </p:nvSpPr>
          <p:spPr bwMode="auto">
            <a:xfrm>
              <a:off x="7113588" y="3365500"/>
              <a:ext cx="242888" cy="214313"/>
            </a:xfrm>
            <a:custGeom>
              <a:avLst/>
              <a:gdLst>
                <a:gd name="T0" fmla="*/ 0 w 458"/>
                <a:gd name="T1" fmla="*/ 344 h 404"/>
                <a:gd name="T2" fmla="*/ 52 w 458"/>
                <a:gd name="T3" fmla="*/ 404 h 404"/>
                <a:gd name="T4" fmla="*/ 250 w 458"/>
                <a:gd name="T5" fmla="*/ 335 h 404"/>
                <a:gd name="T6" fmla="*/ 290 w 458"/>
                <a:gd name="T7" fmla="*/ 184 h 404"/>
                <a:gd name="T8" fmla="*/ 378 w 458"/>
                <a:gd name="T9" fmla="*/ 177 h 404"/>
                <a:gd name="T10" fmla="*/ 458 w 458"/>
                <a:gd name="T11" fmla="*/ 119 h 404"/>
                <a:gd name="T12" fmla="*/ 354 w 458"/>
                <a:gd name="T13" fmla="*/ 42 h 404"/>
                <a:gd name="T14" fmla="*/ 330 w 458"/>
                <a:gd name="T15" fmla="*/ 0 h 404"/>
                <a:gd name="T16" fmla="*/ 278 w 458"/>
                <a:gd name="T17" fmla="*/ 95 h 404"/>
                <a:gd name="T18" fmla="*/ 297 w 458"/>
                <a:gd name="T19" fmla="*/ 150 h 404"/>
                <a:gd name="T20" fmla="*/ 265 w 458"/>
                <a:gd name="T21" fmla="*/ 196 h 404"/>
                <a:gd name="T22" fmla="*/ 206 w 458"/>
                <a:gd name="T23" fmla="*/ 180 h 404"/>
                <a:gd name="T24" fmla="*/ 62 w 458"/>
                <a:gd name="T25" fmla="*/ 286 h 404"/>
                <a:gd name="T26" fmla="*/ 66 w 458"/>
                <a:gd name="T27" fmla="*/ 348 h 404"/>
                <a:gd name="T28" fmla="*/ 0 w 458"/>
                <a:gd name="T29" fmla="*/ 344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8" h="404">
                  <a:moveTo>
                    <a:pt x="0" y="344"/>
                  </a:moveTo>
                  <a:lnTo>
                    <a:pt x="52" y="404"/>
                  </a:lnTo>
                  <a:lnTo>
                    <a:pt x="250" y="335"/>
                  </a:lnTo>
                  <a:lnTo>
                    <a:pt x="290" y="184"/>
                  </a:lnTo>
                  <a:lnTo>
                    <a:pt x="378" y="177"/>
                  </a:lnTo>
                  <a:lnTo>
                    <a:pt x="458" y="119"/>
                  </a:lnTo>
                  <a:lnTo>
                    <a:pt x="354" y="42"/>
                  </a:lnTo>
                  <a:lnTo>
                    <a:pt x="330" y="0"/>
                  </a:lnTo>
                  <a:lnTo>
                    <a:pt x="278" y="95"/>
                  </a:lnTo>
                  <a:lnTo>
                    <a:pt x="297" y="150"/>
                  </a:lnTo>
                  <a:lnTo>
                    <a:pt x="265" y="196"/>
                  </a:lnTo>
                  <a:lnTo>
                    <a:pt x="206" y="180"/>
                  </a:lnTo>
                  <a:lnTo>
                    <a:pt x="62" y="286"/>
                  </a:lnTo>
                  <a:lnTo>
                    <a:pt x="66" y="348"/>
                  </a:lnTo>
                  <a:lnTo>
                    <a:pt x="0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83"/>
            <p:cNvSpPr>
              <a:spLocks/>
            </p:cNvSpPr>
            <p:nvPr/>
          </p:nvSpPr>
          <p:spPr bwMode="auto">
            <a:xfrm>
              <a:off x="7229475" y="3424238"/>
              <a:ext cx="33338" cy="38100"/>
            </a:xfrm>
            <a:custGeom>
              <a:avLst/>
              <a:gdLst>
                <a:gd name="T0" fmla="*/ 48 w 62"/>
                <a:gd name="T1" fmla="*/ 0 h 74"/>
                <a:gd name="T2" fmla="*/ 0 w 62"/>
                <a:gd name="T3" fmla="*/ 60 h 74"/>
                <a:gd name="T4" fmla="*/ 40 w 62"/>
                <a:gd name="T5" fmla="*/ 74 h 74"/>
                <a:gd name="T6" fmla="*/ 62 w 62"/>
                <a:gd name="T7" fmla="*/ 41 h 74"/>
                <a:gd name="T8" fmla="*/ 48 w 62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74">
                  <a:moveTo>
                    <a:pt x="48" y="0"/>
                  </a:moveTo>
                  <a:lnTo>
                    <a:pt x="0" y="60"/>
                  </a:lnTo>
                  <a:lnTo>
                    <a:pt x="40" y="74"/>
                  </a:lnTo>
                  <a:lnTo>
                    <a:pt x="62" y="41"/>
                  </a:ln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84"/>
            <p:cNvSpPr>
              <a:spLocks/>
            </p:cNvSpPr>
            <p:nvPr/>
          </p:nvSpPr>
          <p:spPr bwMode="auto">
            <a:xfrm>
              <a:off x="7343775" y="3535363"/>
              <a:ext cx="182563" cy="228600"/>
            </a:xfrm>
            <a:custGeom>
              <a:avLst/>
              <a:gdLst>
                <a:gd name="T0" fmla="*/ 0 w 345"/>
                <a:gd name="T1" fmla="*/ 300 h 432"/>
                <a:gd name="T2" fmla="*/ 38 w 345"/>
                <a:gd name="T3" fmla="*/ 348 h 432"/>
                <a:gd name="T4" fmla="*/ 13 w 345"/>
                <a:gd name="T5" fmla="*/ 419 h 432"/>
                <a:gd name="T6" fmla="*/ 13 w 345"/>
                <a:gd name="T7" fmla="*/ 432 h 432"/>
                <a:gd name="T8" fmla="*/ 71 w 345"/>
                <a:gd name="T9" fmla="*/ 432 h 432"/>
                <a:gd name="T10" fmla="*/ 91 w 345"/>
                <a:gd name="T11" fmla="*/ 254 h 432"/>
                <a:gd name="T12" fmla="*/ 109 w 345"/>
                <a:gd name="T13" fmla="*/ 259 h 432"/>
                <a:gd name="T14" fmla="*/ 143 w 345"/>
                <a:gd name="T15" fmla="*/ 422 h 432"/>
                <a:gd name="T16" fmla="*/ 175 w 345"/>
                <a:gd name="T17" fmla="*/ 431 h 432"/>
                <a:gd name="T18" fmla="*/ 205 w 345"/>
                <a:gd name="T19" fmla="*/ 361 h 432"/>
                <a:gd name="T20" fmla="*/ 175 w 345"/>
                <a:gd name="T21" fmla="*/ 255 h 432"/>
                <a:gd name="T22" fmla="*/ 150 w 345"/>
                <a:gd name="T23" fmla="*/ 210 h 432"/>
                <a:gd name="T24" fmla="*/ 229 w 345"/>
                <a:gd name="T25" fmla="*/ 153 h 432"/>
                <a:gd name="T26" fmla="*/ 211 w 345"/>
                <a:gd name="T27" fmla="*/ 126 h 432"/>
                <a:gd name="T28" fmla="*/ 135 w 345"/>
                <a:gd name="T29" fmla="*/ 176 h 432"/>
                <a:gd name="T30" fmla="*/ 114 w 345"/>
                <a:gd name="T31" fmla="*/ 176 h 432"/>
                <a:gd name="T32" fmla="*/ 78 w 345"/>
                <a:gd name="T33" fmla="*/ 121 h 432"/>
                <a:gd name="T34" fmla="*/ 89 w 345"/>
                <a:gd name="T35" fmla="*/ 98 h 432"/>
                <a:gd name="T36" fmla="*/ 152 w 345"/>
                <a:gd name="T37" fmla="*/ 68 h 432"/>
                <a:gd name="T38" fmla="*/ 245 w 345"/>
                <a:gd name="T39" fmla="*/ 96 h 432"/>
                <a:gd name="T40" fmla="*/ 275 w 345"/>
                <a:gd name="T41" fmla="*/ 94 h 432"/>
                <a:gd name="T42" fmla="*/ 345 w 345"/>
                <a:gd name="T43" fmla="*/ 28 h 432"/>
                <a:gd name="T44" fmla="*/ 316 w 345"/>
                <a:gd name="T45" fmla="*/ 0 h 432"/>
                <a:gd name="T46" fmla="*/ 251 w 345"/>
                <a:gd name="T47" fmla="*/ 50 h 432"/>
                <a:gd name="T48" fmla="*/ 209 w 345"/>
                <a:gd name="T49" fmla="*/ 50 h 432"/>
                <a:gd name="T50" fmla="*/ 145 w 345"/>
                <a:gd name="T51" fmla="*/ 20 h 432"/>
                <a:gd name="T52" fmla="*/ 99 w 345"/>
                <a:gd name="T53" fmla="*/ 22 h 432"/>
                <a:gd name="T54" fmla="*/ 49 w 345"/>
                <a:gd name="T55" fmla="*/ 103 h 432"/>
                <a:gd name="T56" fmla="*/ 17 w 345"/>
                <a:gd name="T57" fmla="*/ 244 h 432"/>
                <a:gd name="T58" fmla="*/ 0 w 345"/>
                <a:gd name="T59" fmla="*/ 30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5" h="432">
                  <a:moveTo>
                    <a:pt x="0" y="300"/>
                  </a:moveTo>
                  <a:lnTo>
                    <a:pt x="38" y="348"/>
                  </a:lnTo>
                  <a:lnTo>
                    <a:pt x="13" y="419"/>
                  </a:lnTo>
                  <a:lnTo>
                    <a:pt x="13" y="432"/>
                  </a:lnTo>
                  <a:lnTo>
                    <a:pt x="71" y="432"/>
                  </a:lnTo>
                  <a:lnTo>
                    <a:pt x="91" y="254"/>
                  </a:lnTo>
                  <a:lnTo>
                    <a:pt x="109" y="259"/>
                  </a:lnTo>
                  <a:lnTo>
                    <a:pt x="143" y="422"/>
                  </a:lnTo>
                  <a:lnTo>
                    <a:pt x="175" y="431"/>
                  </a:lnTo>
                  <a:lnTo>
                    <a:pt x="205" y="361"/>
                  </a:lnTo>
                  <a:lnTo>
                    <a:pt x="175" y="255"/>
                  </a:lnTo>
                  <a:lnTo>
                    <a:pt x="150" y="210"/>
                  </a:lnTo>
                  <a:lnTo>
                    <a:pt x="229" y="153"/>
                  </a:lnTo>
                  <a:lnTo>
                    <a:pt x="211" y="126"/>
                  </a:lnTo>
                  <a:lnTo>
                    <a:pt x="135" y="176"/>
                  </a:lnTo>
                  <a:lnTo>
                    <a:pt x="114" y="176"/>
                  </a:lnTo>
                  <a:lnTo>
                    <a:pt x="78" y="121"/>
                  </a:lnTo>
                  <a:lnTo>
                    <a:pt x="89" y="98"/>
                  </a:lnTo>
                  <a:lnTo>
                    <a:pt x="152" y="68"/>
                  </a:lnTo>
                  <a:lnTo>
                    <a:pt x="245" y="96"/>
                  </a:lnTo>
                  <a:lnTo>
                    <a:pt x="275" y="94"/>
                  </a:lnTo>
                  <a:lnTo>
                    <a:pt x="345" y="28"/>
                  </a:lnTo>
                  <a:lnTo>
                    <a:pt x="316" y="0"/>
                  </a:lnTo>
                  <a:lnTo>
                    <a:pt x="251" y="50"/>
                  </a:lnTo>
                  <a:lnTo>
                    <a:pt x="209" y="50"/>
                  </a:lnTo>
                  <a:lnTo>
                    <a:pt x="145" y="20"/>
                  </a:lnTo>
                  <a:lnTo>
                    <a:pt x="99" y="22"/>
                  </a:lnTo>
                  <a:lnTo>
                    <a:pt x="49" y="103"/>
                  </a:lnTo>
                  <a:lnTo>
                    <a:pt x="17" y="244"/>
                  </a:lnTo>
                  <a:lnTo>
                    <a:pt x="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5"/>
            <p:cNvSpPr>
              <a:spLocks/>
            </p:cNvSpPr>
            <p:nvPr/>
          </p:nvSpPr>
          <p:spPr bwMode="auto">
            <a:xfrm>
              <a:off x="7550150" y="3525838"/>
              <a:ext cx="53975" cy="76200"/>
            </a:xfrm>
            <a:custGeom>
              <a:avLst/>
              <a:gdLst>
                <a:gd name="T0" fmla="*/ 32 w 101"/>
                <a:gd name="T1" fmla="*/ 0 h 144"/>
                <a:gd name="T2" fmla="*/ 0 w 101"/>
                <a:gd name="T3" fmla="*/ 78 h 144"/>
                <a:gd name="T4" fmla="*/ 50 w 101"/>
                <a:gd name="T5" fmla="*/ 144 h 144"/>
                <a:gd name="T6" fmla="*/ 67 w 101"/>
                <a:gd name="T7" fmla="*/ 144 h 144"/>
                <a:gd name="T8" fmla="*/ 90 w 101"/>
                <a:gd name="T9" fmla="*/ 100 h 144"/>
                <a:gd name="T10" fmla="*/ 101 w 101"/>
                <a:gd name="T11" fmla="*/ 85 h 144"/>
                <a:gd name="T12" fmla="*/ 80 w 101"/>
                <a:gd name="T13" fmla="*/ 61 h 144"/>
                <a:gd name="T14" fmla="*/ 47 w 101"/>
                <a:gd name="T15" fmla="*/ 49 h 144"/>
                <a:gd name="T16" fmla="*/ 32 w 101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144">
                  <a:moveTo>
                    <a:pt x="32" y="0"/>
                  </a:moveTo>
                  <a:lnTo>
                    <a:pt x="0" y="78"/>
                  </a:lnTo>
                  <a:lnTo>
                    <a:pt x="50" y="144"/>
                  </a:lnTo>
                  <a:lnTo>
                    <a:pt x="67" y="144"/>
                  </a:lnTo>
                  <a:lnTo>
                    <a:pt x="90" y="100"/>
                  </a:lnTo>
                  <a:lnTo>
                    <a:pt x="101" y="85"/>
                  </a:lnTo>
                  <a:lnTo>
                    <a:pt x="80" y="61"/>
                  </a:lnTo>
                  <a:lnTo>
                    <a:pt x="47" y="49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86"/>
            <p:cNvSpPr>
              <a:spLocks/>
            </p:cNvSpPr>
            <p:nvPr/>
          </p:nvSpPr>
          <p:spPr bwMode="auto">
            <a:xfrm>
              <a:off x="7572375" y="3660775"/>
              <a:ext cx="80963" cy="34925"/>
            </a:xfrm>
            <a:custGeom>
              <a:avLst/>
              <a:gdLst>
                <a:gd name="T0" fmla="*/ 89 w 151"/>
                <a:gd name="T1" fmla="*/ 0 h 66"/>
                <a:gd name="T2" fmla="*/ 20 w 151"/>
                <a:gd name="T3" fmla="*/ 15 h 66"/>
                <a:gd name="T4" fmla="*/ 0 w 151"/>
                <a:gd name="T5" fmla="*/ 38 h 66"/>
                <a:gd name="T6" fmla="*/ 17 w 151"/>
                <a:gd name="T7" fmla="*/ 66 h 66"/>
                <a:gd name="T8" fmla="*/ 62 w 151"/>
                <a:gd name="T9" fmla="*/ 50 h 66"/>
                <a:gd name="T10" fmla="*/ 91 w 151"/>
                <a:gd name="T11" fmla="*/ 33 h 66"/>
                <a:gd name="T12" fmla="*/ 133 w 151"/>
                <a:gd name="T13" fmla="*/ 66 h 66"/>
                <a:gd name="T14" fmla="*/ 151 w 151"/>
                <a:gd name="T15" fmla="*/ 51 h 66"/>
                <a:gd name="T16" fmla="*/ 118 w 151"/>
                <a:gd name="T17" fmla="*/ 10 h 66"/>
                <a:gd name="T18" fmla="*/ 89 w 151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66">
                  <a:moveTo>
                    <a:pt x="89" y="0"/>
                  </a:moveTo>
                  <a:lnTo>
                    <a:pt x="20" y="15"/>
                  </a:lnTo>
                  <a:lnTo>
                    <a:pt x="0" y="38"/>
                  </a:lnTo>
                  <a:lnTo>
                    <a:pt x="17" y="66"/>
                  </a:lnTo>
                  <a:lnTo>
                    <a:pt x="62" y="50"/>
                  </a:lnTo>
                  <a:lnTo>
                    <a:pt x="91" y="33"/>
                  </a:lnTo>
                  <a:lnTo>
                    <a:pt x="133" y="66"/>
                  </a:lnTo>
                  <a:lnTo>
                    <a:pt x="151" y="51"/>
                  </a:lnTo>
                  <a:lnTo>
                    <a:pt x="118" y="10"/>
                  </a:lnTo>
                  <a:lnTo>
                    <a:pt x="8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7"/>
            <p:cNvSpPr>
              <a:spLocks/>
            </p:cNvSpPr>
            <p:nvPr/>
          </p:nvSpPr>
          <p:spPr bwMode="auto">
            <a:xfrm>
              <a:off x="6989763" y="3778250"/>
              <a:ext cx="246063" cy="95250"/>
            </a:xfrm>
            <a:custGeom>
              <a:avLst/>
              <a:gdLst>
                <a:gd name="T0" fmla="*/ 48 w 465"/>
                <a:gd name="T1" fmla="*/ 0 h 182"/>
                <a:gd name="T2" fmla="*/ 0 w 465"/>
                <a:gd name="T3" fmla="*/ 33 h 182"/>
                <a:gd name="T4" fmla="*/ 10 w 465"/>
                <a:gd name="T5" fmla="*/ 60 h 182"/>
                <a:gd name="T6" fmla="*/ 160 w 465"/>
                <a:gd name="T7" fmla="*/ 94 h 182"/>
                <a:gd name="T8" fmla="*/ 235 w 465"/>
                <a:gd name="T9" fmla="*/ 107 h 182"/>
                <a:gd name="T10" fmla="*/ 268 w 465"/>
                <a:gd name="T11" fmla="*/ 142 h 182"/>
                <a:gd name="T12" fmla="*/ 353 w 465"/>
                <a:gd name="T13" fmla="*/ 149 h 182"/>
                <a:gd name="T14" fmla="*/ 394 w 465"/>
                <a:gd name="T15" fmla="*/ 182 h 182"/>
                <a:gd name="T16" fmla="*/ 431 w 465"/>
                <a:gd name="T17" fmla="*/ 174 h 182"/>
                <a:gd name="T18" fmla="*/ 465 w 465"/>
                <a:gd name="T19" fmla="*/ 144 h 182"/>
                <a:gd name="T20" fmla="*/ 403 w 465"/>
                <a:gd name="T21" fmla="*/ 114 h 182"/>
                <a:gd name="T22" fmla="*/ 349 w 465"/>
                <a:gd name="T23" fmla="*/ 68 h 182"/>
                <a:gd name="T24" fmla="*/ 209 w 465"/>
                <a:gd name="T25" fmla="*/ 35 h 182"/>
                <a:gd name="T26" fmla="*/ 48 w 465"/>
                <a:gd name="T2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5" h="182">
                  <a:moveTo>
                    <a:pt x="48" y="0"/>
                  </a:moveTo>
                  <a:lnTo>
                    <a:pt x="0" y="33"/>
                  </a:lnTo>
                  <a:lnTo>
                    <a:pt x="10" y="60"/>
                  </a:lnTo>
                  <a:lnTo>
                    <a:pt x="160" y="94"/>
                  </a:lnTo>
                  <a:lnTo>
                    <a:pt x="235" y="107"/>
                  </a:lnTo>
                  <a:lnTo>
                    <a:pt x="268" y="142"/>
                  </a:lnTo>
                  <a:lnTo>
                    <a:pt x="353" y="149"/>
                  </a:lnTo>
                  <a:lnTo>
                    <a:pt x="394" y="182"/>
                  </a:lnTo>
                  <a:lnTo>
                    <a:pt x="431" y="174"/>
                  </a:lnTo>
                  <a:lnTo>
                    <a:pt x="465" y="144"/>
                  </a:lnTo>
                  <a:lnTo>
                    <a:pt x="403" y="114"/>
                  </a:lnTo>
                  <a:lnTo>
                    <a:pt x="349" y="68"/>
                  </a:lnTo>
                  <a:lnTo>
                    <a:pt x="209" y="35"/>
                  </a:ln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88"/>
            <p:cNvSpPr>
              <a:spLocks/>
            </p:cNvSpPr>
            <p:nvPr/>
          </p:nvSpPr>
          <p:spPr bwMode="auto">
            <a:xfrm>
              <a:off x="7254875" y="3856038"/>
              <a:ext cx="39688" cy="23813"/>
            </a:xfrm>
            <a:custGeom>
              <a:avLst/>
              <a:gdLst>
                <a:gd name="T0" fmla="*/ 37 w 75"/>
                <a:gd name="T1" fmla="*/ 0 h 43"/>
                <a:gd name="T2" fmla="*/ 0 w 75"/>
                <a:gd name="T3" fmla="*/ 20 h 43"/>
                <a:gd name="T4" fmla="*/ 22 w 75"/>
                <a:gd name="T5" fmla="*/ 43 h 43"/>
                <a:gd name="T6" fmla="*/ 75 w 75"/>
                <a:gd name="T7" fmla="*/ 23 h 43"/>
                <a:gd name="T8" fmla="*/ 37 w 75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3">
                  <a:moveTo>
                    <a:pt x="37" y="0"/>
                  </a:moveTo>
                  <a:lnTo>
                    <a:pt x="0" y="20"/>
                  </a:lnTo>
                  <a:lnTo>
                    <a:pt x="22" y="43"/>
                  </a:lnTo>
                  <a:lnTo>
                    <a:pt x="75" y="23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89"/>
            <p:cNvSpPr>
              <a:spLocks/>
            </p:cNvSpPr>
            <p:nvPr/>
          </p:nvSpPr>
          <p:spPr bwMode="auto">
            <a:xfrm>
              <a:off x="7307263" y="3846513"/>
              <a:ext cx="33338" cy="23813"/>
            </a:xfrm>
            <a:custGeom>
              <a:avLst/>
              <a:gdLst>
                <a:gd name="T0" fmla="*/ 0 w 61"/>
                <a:gd name="T1" fmla="*/ 2 h 44"/>
                <a:gd name="T2" fmla="*/ 7 w 61"/>
                <a:gd name="T3" fmla="*/ 34 h 44"/>
                <a:gd name="T4" fmla="*/ 45 w 61"/>
                <a:gd name="T5" fmla="*/ 44 h 44"/>
                <a:gd name="T6" fmla="*/ 61 w 61"/>
                <a:gd name="T7" fmla="*/ 26 h 44"/>
                <a:gd name="T8" fmla="*/ 43 w 61"/>
                <a:gd name="T9" fmla="*/ 0 h 44"/>
                <a:gd name="T10" fmla="*/ 0 w 61"/>
                <a:gd name="T11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44">
                  <a:moveTo>
                    <a:pt x="0" y="2"/>
                  </a:moveTo>
                  <a:lnTo>
                    <a:pt x="7" y="34"/>
                  </a:lnTo>
                  <a:lnTo>
                    <a:pt x="45" y="44"/>
                  </a:lnTo>
                  <a:lnTo>
                    <a:pt x="61" y="26"/>
                  </a:lnTo>
                  <a:lnTo>
                    <a:pt x="4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90"/>
            <p:cNvSpPr>
              <a:spLocks/>
            </p:cNvSpPr>
            <p:nvPr/>
          </p:nvSpPr>
          <p:spPr bwMode="auto">
            <a:xfrm>
              <a:off x="7331075" y="3892550"/>
              <a:ext cx="41275" cy="22225"/>
            </a:xfrm>
            <a:custGeom>
              <a:avLst/>
              <a:gdLst>
                <a:gd name="T0" fmla="*/ 47 w 76"/>
                <a:gd name="T1" fmla="*/ 0 h 42"/>
                <a:gd name="T2" fmla="*/ 0 w 76"/>
                <a:gd name="T3" fmla="*/ 7 h 42"/>
                <a:gd name="T4" fmla="*/ 43 w 76"/>
                <a:gd name="T5" fmla="*/ 42 h 42"/>
                <a:gd name="T6" fmla="*/ 76 w 76"/>
                <a:gd name="T7" fmla="*/ 42 h 42"/>
                <a:gd name="T8" fmla="*/ 47 w 76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2">
                  <a:moveTo>
                    <a:pt x="47" y="0"/>
                  </a:moveTo>
                  <a:lnTo>
                    <a:pt x="0" y="7"/>
                  </a:lnTo>
                  <a:lnTo>
                    <a:pt x="43" y="42"/>
                  </a:lnTo>
                  <a:lnTo>
                    <a:pt x="76" y="42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1"/>
            <p:cNvSpPr>
              <a:spLocks/>
            </p:cNvSpPr>
            <p:nvPr/>
          </p:nvSpPr>
          <p:spPr bwMode="auto">
            <a:xfrm>
              <a:off x="7358063" y="3856038"/>
              <a:ext cx="71438" cy="23813"/>
            </a:xfrm>
            <a:custGeom>
              <a:avLst/>
              <a:gdLst>
                <a:gd name="T0" fmla="*/ 10 w 134"/>
                <a:gd name="T1" fmla="*/ 13 h 45"/>
                <a:gd name="T2" fmla="*/ 0 w 134"/>
                <a:gd name="T3" fmla="*/ 33 h 45"/>
                <a:gd name="T4" fmla="*/ 75 w 134"/>
                <a:gd name="T5" fmla="*/ 45 h 45"/>
                <a:gd name="T6" fmla="*/ 134 w 134"/>
                <a:gd name="T7" fmla="*/ 11 h 45"/>
                <a:gd name="T8" fmla="*/ 101 w 134"/>
                <a:gd name="T9" fmla="*/ 1 h 45"/>
                <a:gd name="T10" fmla="*/ 47 w 134"/>
                <a:gd name="T11" fmla="*/ 16 h 45"/>
                <a:gd name="T12" fmla="*/ 26 w 134"/>
                <a:gd name="T13" fmla="*/ 0 h 45"/>
                <a:gd name="T14" fmla="*/ 10 w 134"/>
                <a:gd name="T15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" h="45">
                  <a:moveTo>
                    <a:pt x="10" y="13"/>
                  </a:moveTo>
                  <a:lnTo>
                    <a:pt x="0" y="33"/>
                  </a:lnTo>
                  <a:lnTo>
                    <a:pt x="75" y="45"/>
                  </a:lnTo>
                  <a:lnTo>
                    <a:pt x="134" y="11"/>
                  </a:lnTo>
                  <a:lnTo>
                    <a:pt x="101" y="1"/>
                  </a:lnTo>
                  <a:lnTo>
                    <a:pt x="47" y="16"/>
                  </a:lnTo>
                  <a:lnTo>
                    <a:pt x="26" y="0"/>
                  </a:lnTo>
                  <a:lnTo>
                    <a:pt x="1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92"/>
            <p:cNvSpPr>
              <a:spLocks/>
            </p:cNvSpPr>
            <p:nvPr/>
          </p:nvSpPr>
          <p:spPr bwMode="auto">
            <a:xfrm>
              <a:off x="7448550" y="3870325"/>
              <a:ext cx="92075" cy="47625"/>
            </a:xfrm>
            <a:custGeom>
              <a:avLst/>
              <a:gdLst>
                <a:gd name="T0" fmla="*/ 87 w 174"/>
                <a:gd name="T1" fmla="*/ 0 h 91"/>
                <a:gd name="T2" fmla="*/ 0 w 174"/>
                <a:gd name="T3" fmla="*/ 73 h 91"/>
                <a:gd name="T4" fmla="*/ 8 w 174"/>
                <a:gd name="T5" fmla="*/ 91 h 91"/>
                <a:gd name="T6" fmla="*/ 45 w 174"/>
                <a:gd name="T7" fmla="*/ 84 h 91"/>
                <a:gd name="T8" fmla="*/ 89 w 174"/>
                <a:gd name="T9" fmla="*/ 44 h 91"/>
                <a:gd name="T10" fmla="*/ 174 w 174"/>
                <a:gd name="T11" fmla="*/ 31 h 91"/>
                <a:gd name="T12" fmla="*/ 158 w 174"/>
                <a:gd name="T13" fmla="*/ 3 h 91"/>
                <a:gd name="T14" fmla="*/ 87 w 174"/>
                <a:gd name="T1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91">
                  <a:moveTo>
                    <a:pt x="87" y="0"/>
                  </a:moveTo>
                  <a:lnTo>
                    <a:pt x="0" y="73"/>
                  </a:lnTo>
                  <a:lnTo>
                    <a:pt x="8" y="91"/>
                  </a:lnTo>
                  <a:lnTo>
                    <a:pt x="45" y="84"/>
                  </a:lnTo>
                  <a:lnTo>
                    <a:pt x="89" y="44"/>
                  </a:lnTo>
                  <a:lnTo>
                    <a:pt x="174" y="31"/>
                  </a:lnTo>
                  <a:lnTo>
                    <a:pt x="158" y="3"/>
                  </a:lnTo>
                  <a:lnTo>
                    <a:pt x="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93"/>
            <p:cNvSpPr>
              <a:spLocks/>
            </p:cNvSpPr>
            <p:nvPr/>
          </p:nvSpPr>
          <p:spPr bwMode="auto">
            <a:xfrm>
              <a:off x="8159750" y="3694113"/>
              <a:ext cx="63500" cy="71438"/>
            </a:xfrm>
            <a:custGeom>
              <a:avLst/>
              <a:gdLst>
                <a:gd name="T0" fmla="*/ 16 w 119"/>
                <a:gd name="T1" fmla="*/ 0 h 137"/>
                <a:gd name="T2" fmla="*/ 0 w 119"/>
                <a:gd name="T3" fmla="*/ 21 h 137"/>
                <a:gd name="T4" fmla="*/ 83 w 119"/>
                <a:gd name="T5" fmla="*/ 94 h 137"/>
                <a:gd name="T6" fmla="*/ 94 w 119"/>
                <a:gd name="T7" fmla="*/ 137 h 137"/>
                <a:gd name="T8" fmla="*/ 116 w 119"/>
                <a:gd name="T9" fmla="*/ 135 h 137"/>
                <a:gd name="T10" fmla="*/ 119 w 119"/>
                <a:gd name="T11" fmla="*/ 90 h 137"/>
                <a:gd name="T12" fmla="*/ 94 w 119"/>
                <a:gd name="T13" fmla="*/ 68 h 137"/>
                <a:gd name="T14" fmla="*/ 16 w 119"/>
                <a:gd name="T1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137">
                  <a:moveTo>
                    <a:pt x="16" y="0"/>
                  </a:moveTo>
                  <a:lnTo>
                    <a:pt x="0" y="21"/>
                  </a:lnTo>
                  <a:lnTo>
                    <a:pt x="83" y="94"/>
                  </a:lnTo>
                  <a:lnTo>
                    <a:pt x="94" y="137"/>
                  </a:lnTo>
                  <a:lnTo>
                    <a:pt x="116" y="135"/>
                  </a:lnTo>
                  <a:lnTo>
                    <a:pt x="119" y="90"/>
                  </a:lnTo>
                  <a:lnTo>
                    <a:pt x="94" y="68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94"/>
            <p:cNvSpPr>
              <a:spLocks/>
            </p:cNvSpPr>
            <p:nvPr/>
          </p:nvSpPr>
          <p:spPr bwMode="auto">
            <a:xfrm>
              <a:off x="8110538" y="3748088"/>
              <a:ext cx="87313" cy="63500"/>
            </a:xfrm>
            <a:custGeom>
              <a:avLst/>
              <a:gdLst>
                <a:gd name="T0" fmla="*/ 150 w 164"/>
                <a:gd name="T1" fmla="*/ 0 h 119"/>
                <a:gd name="T2" fmla="*/ 134 w 164"/>
                <a:gd name="T3" fmla="*/ 4 h 119"/>
                <a:gd name="T4" fmla="*/ 125 w 164"/>
                <a:gd name="T5" fmla="*/ 47 h 119"/>
                <a:gd name="T6" fmla="*/ 93 w 164"/>
                <a:gd name="T7" fmla="*/ 68 h 119"/>
                <a:gd name="T8" fmla="*/ 0 w 164"/>
                <a:gd name="T9" fmla="*/ 84 h 119"/>
                <a:gd name="T10" fmla="*/ 3 w 164"/>
                <a:gd name="T11" fmla="*/ 119 h 119"/>
                <a:gd name="T12" fmla="*/ 103 w 164"/>
                <a:gd name="T13" fmla="*/ 114 h 119"/>
                <a:gd name="T14" fmla="*/ 164 w 164"/>
                <a:gd name="T15" fmla="*/ 75 h 119"/>
                <a:gd name="T16" fmla="*/ 160 w 164"/>
                <a:gd name="T17" fmla="*/ 7 h 119"/>
                <a:gd name="T18" fmla="*/ 150 w 164"/>
                <a:gd name="T1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19">
                  <a:moveTo>
                    <a:pt x="150" y="0"/>
                  </a:moveTo>
                  <a:lnTo>
                    <a:pt x="134" y="4"/>
                  </a:lnTo>
                  <a:lnTo>
                    <a:pt x="125" y="47"/>
                  </a:lnTo>
                  <a:lnTo>
                    <a:pt x="93" y="68"/>
                  </a:lnTo>
                  <a:lnTo>
                    <a:pt x="0" y="84"/>
                  </a:lnTo>
                  <a:lnTo>
                    <a:pt x="3" y="119"/>
                  </a:lnTo>
                  <a:lnTo>
                    <a:pt x="103" y="114"/>
                  </a:lnTo>
                  <a:lnTo>
                    <a:pt x="164" y="75"/>
                  </a:lnTo>
                  <a:lnTo>
                    <a:pt x="160" y="7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95"/>
            <p:cNvSpPr>
              <a:spLocks/>
            </p:cNvSpPr>
            <p:nvPr/>
          </p:nvSpPr>
          <p:spPr bwMode="auto">
            <a:xfrm>
              <a:off x="8248650" y="3786188"/>
              <a:ext cx="38100" cy="53975"/>
            </a:xfrm>
            <a:custGeom>
              <a:avLst/>
              <a:gdLst>
                <a:gd name="T0" fmla="*/ 0 w 70"/>
                <a:gd name="T1" fmla="*/ 5 h 101"/>
                <a:gd name="T2" fmla="*/ 21 w 70"/>
                <a:gd name="T3" fmla="*/ 65 h 101"/>
                <a:gd name="T4" fmla="*/ 59 w 70"/>
                <a:gd name="T5" fmla="*/ 101 h 101"/>
                <a:gd name="T6" fmla="*/ 70 w 70"/>
                <a:gd name="T7" fmla="*/ 91 h 101"/>
                <a:gd name="T8" fmla="*/ 66 w 70"/>
                <a:gd name="T9" fmla="*/ 51 h 101"/>
                <a:gd name="T10" fmla="*/ 23 w 70"/>
                <a:gd name="T11" fmla="*/ 0 h 101"/>
                <a:gd name="T12" fmla="*/ 0 w 70"/>
                <a:gd name="T13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01">
                  <a:moveTo>
                    <a:pt x="0" y="5"/>
                  </a:moveTo>
                  <a:lnTo>
                    <a:pt x="21" y="65"/>
                  </a:lnTo>
                  <a:lnTo>
                    <a:pt x="59" y="101"/>
                  </a:lnTo>
                  <a:lnTo>
                    <a:pt x="70" y="91"/>
                  </a:lnTo>
                  <a:lnTo>
                    <a:pt x="66" y="51"/>
                  </a:lnTo>
                  <a:lnTo>
                    <a:pt x="2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96"/>
            <p:cNvSpPr>
              <a:spLocks/>
            </p:cNvSpPr>
            <p:nvPr/>
          </p:nvSpPr>
          <p:spPr bwMode="auto">
            <a:xfrm>
              <a:off x="8304213" y="3835400"/>
              <a:ext cx="25400" cy="33338"/>
            </a:xfrm>
            <a:custGeom>
              <a:avLst/>
              <a:gdLst>
                <a:gd name="T0" fmla="*/ 0 w 49"/>
                <a:gd name="T1" fmla="*/ 0 h 62"/>
                <a:gd name="T2" fmla="*/ 3 w 49"/>
                <a:gd name="T3" fmla="*/ 40 h 62"/>
                <a:gd name="T4" fmla="*/ 27 w 49"/>
                <a:gd name="T5" fmla="*/ 62 h 62"/>
                <a:gd name="T6" fmla="*/ 49 w 49"/>
                <a:gd name="T7" fmla="*/ 48 h 62"/>
                <a:gd name="T8" fmla="*/ 29 w 49"/>
                <a:gd name="T9" fmla="*/ 6 h 62"/>
                <a:gd name="T10" fmla="*/ 0 w 49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62">
                  <a:moveTo>
                    <a:pt x="0" y="0"/>
                  </a:moveTo>
                  <a:lnTo>
                    <a:pt x="3" y="40"/>
                  </a:lnTo>
                  <a:lnTo>
                    <a:pt x="27" y="62"/>
                  </a:lnTo>
                  <a:lnTo>
                    <a:pt x="49" y="48"/>
                  </a:lnTo>
                  <a:lnTo>
                    <a:pt x="29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97"/>
            <p:cNvSpPr>
              <a:spLocks/>
            </p:cNvSpPr>
            <p:nvPr/>
          </p:nvSpPr>
          <p:spPr bwMode="auto">
            <a:xfrm>
              <a:off x="8308975" y="3886200"/>
              <a:ext cx="23813" cy="36513"/>
            </a:xfrm>
            <a:custGeom>
              <a:avLst/>
              <a:gdLst>
                <a:gd name="T0" fmla="*/ 20 w 45"/>
                <a:gd name="T1" fmla="*/ 0 h 68"/>
                <a:gd name="T2" fmla="*/ 0 w 45"/>
                <a:gd name="T3" fmla="*/ 22 h 68"/>
                <a:gd name="T4" fmla="*/ 21 w 45"/>
                <a:gd name="T5" fmla="*/ 60 h 68"/>
                <a:gd name="T6" fmla="*/ 45 w 45"/>
                <a:gd name="T7" fmla="*/ 68 h 68"/>
                <a:gd name="T8" fmla="*/ 44 w 45"/>
                <a:gd name="T9" fmla="*/ 42 h 68"/>
                <a:gd name="T10" fmla="*/ 20 w 45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68">
                  <a:moveTo>
                    <a:pt x="20" y="0"/>
                  </a:moveTo>
                  <a:lnTo>
                    <a:pt x="0" y="22"/>
                  </a:lnTo>
                  <a:lnTo>
                    <a:pt x="21" y="60"/>
                  </a:lnTo>
                  <a:lnTo>
                    <a:pt x="45" y="68"/>
                  </a:lnTo>
                  <a:lnTo>
                    <a:pt x="44" y="42"/>
                  </a:ln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98"/>
            <p:cNvSpPr>
              <a:spLocks/>
            </p:cNvSpPr>
            <p:nvPr/>
          </p:nvSpPr>
          <p:spPr bwMode="auto">
            <a:xfrm>
              <a:off x="8345488" y="3875088"/>
              <a:ext cx="36513" cy="42863"/>
            </a:xfrm>
            <a:custGeom>
              <a:avLst/>
              <a:gdLst>
                <a:gd name="T0" fmla="*/ 0 w 69"/>
                <a:gd name="T1" fmla="*/ 0 h 83"/>
                <a:gd name="T2" fmla="*/ 17 w 69"/>
                <a:gd name="T3" fmla="*/ 44 h 83"/>
                <a:gd name="T4" fmla="*/ 50 w 69"/>
                <a:gd name="T5" fmla="*/ 83 h 83"/>
                <a:gd name="T6" fmla="*/ 69 w 69"/>
                <a:gd name="T7" fmla="*/ 54 h 83"/>
                <a:gd name="T8" fmla="*/ 44 w 69"/>
                <a:gd name="T9" fmla="*/ 10 h 83"/>
                <a:gd name="T10" fmla="*/ 0 w 69"/>
                <a:gd name="T1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83">
                  <a:moveTo>
                    <a:pt x="0" y="0"/>
                  </a:moveTo>
                  <a:lnTo>
                    <a:pt x="17" y="44"/>
                  </a:lnTo>
                  <a:lnTo>
                    <a:pt x="50" y="83"/>
                  </a:lnTo>
                  <a:lnTo>
                    <a:pt x="69" y="54"/>
                  </a:lnTo>
                  <a:lnTo>
                    <a:pt x="44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99"/>
            <p:cNvSpPr>
              <a:spLocks/>
            </p:cNvSpPr>
            <p:nvPr/>
          </p:nvSpPr>
          <p:spPr bwMode="auto">
            <a:xfrm>
              <a:off x="8391525" y="3908425"/>
              <a:ext cx="28575" cy="46038"/>
            </a:xfrm>
            <a:custGeom>
              <a:avLst/>
              <a:gdLst>
                <a:gd name="T0" fmla="*/ 0 w 54"/>
                <a:gd name="T1" fmla="*/ 0 h 85"/>
                <a:gd name="T2" fmla="*/ 10 w 54"/>
                <a:gd name="T3" fmla="*/ 53 h 85"/>
                <a:gd name="T4" fmla="*/ 33 w 54"/>
                <a:gd name="T5" fmla="*/ 85 h 85"/>
                <a:gd name="T6" fmla="*/ 54 w 54"/>
                <a:gd name="T7" fmla="*/ 44 h 85"/>
                <a:gd name="T8" fmla="*/ 0 w 54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85">
                  <a:moveTo>
                    <a:pt x="0" y="0"/>
                  </a:moveTo>
                  <a:lnTo>
                    <a:pt x="10" y="53"/>
                  </a:lnTo>
                  <a:lnTo>
                    <a:pt x="33" y="85"/>
                  </a:lnTo>
                  <a:lnTo>
                    <a:pt x="54" y="4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00"/>
            <p:cNvSpPr>
              <a:spLocks/>
            </p:cNvSpPr>
            <p:nvPr/>
          </p:nvSpPr>
          <p:spPr bwMode="auto">
            <a:xfrm>
              <a:off x="8401050" y="3971925"/>
              <a:ext cx="26988" cy="28575"/>
            </a:xfrm>
            <a:custGeom>
              <a:avLst/>
              <a:gdLst>
                <a:gd name="T0" fmla="*/ 9 w 49"/>
                <a:gd name="T1" fmla="*/ 0 h 55"/>
                <a:gd name="T2" fmla="*/ 0 w 49"/>
                <a:gd name="T3" fmla="*/ 15 h 55"/>
                <a:gd name="T4" fmla="*/ 30 w 49"/>
                <a:gd name="T5" fmla="*/ 53 h 55"/>
                <a:gd name="T6" fmla="*/ 49 w 49"/>
                <a:gd name="T7" fmla="*/ 55 h 55"/>
                <a:gd name="T8" fmla="*/ 37 w 49"/>
                <a:gd name="T9" fmla="*/ 5 h 55"/>
                <a:gd name="T10" fmla="*/ 9 w 49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55">
                  <a:moveTo>
                    <a:pt x="9" y="0"/>
                  </a:moveTo>
                  <a:lnTo>
                    <a:pt x="0" y="15"/>
                  </a:lnTo>
                  <a:lnTo>
                    <a:pt x="30" y="53"/>
                  </a:lnTo>
                  <a:lnTo>
                    <a:pt x="49" y="55"/>
                  </a:lnTo>
                  <a:lnTo>
                    <a:pt x="37" y="5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01"/>
            <p:cNvSpPr>
              <a:spLocks/>
            </p:cNvSpPr>
            <p:nvPr/>
          </p:nvSpPr>
          <p:spPr bwMode="auto">
            <a:xfrm>
              <a:off x="8356600" y="4011613"/>
              <a:ext cx="25400" cy="26988"/>
            </a:xfrm>
            <a:custGeom>
              <a:avLst/>
              <a:gdLst>
                <a:gd name="T0" fmla="*/ 29 w 48"/>
                <a:gd name="T1" fmla="*/ 0 h 51"/>
                <a:gd name="T2" fmla="*/ 0 w 48"/>
                <a:gd name="T3" fmla="*/ 14 h 51"/>
                <a:gd name="T4" fmla="*/ 25 w 48"/>
                <a:gd name="T5" fmla="*/ 51 h 51"/>
                <a:gd name="T6" fmla="*/ 48 w 48"/>
                <a:gd name="T7" fmla="*/ 39 h 51"/>
                <a:gd name="T8" fmla="*/ 29 w 48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1">
                  <a:moveTo>
                    <a:pt x="29" y="0"/>
                  </a:moveTo>
                  <a:lnTo>
                    <a:pt x="0" y="14"/>
                  </a:lnTo>
                  <a:lnTo>
                    <a:pt x="25" y="51"/>
                  </a:lnTo>
                  <a:lnTo>
                    <a:pt x="48" y="39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02"/>
            <p:cNvSpPr>
              <a:spLocks/>
            </p:cNvSpPr>
            <p:nvPr/>
          </p:nvSpPr>
          <p:spPr bwMode="auto">
            <a:xfrm>
              <a:off x="8523288" y="4130675"/>
              <a:ext cx="20638" cy="34925"/>
            </a:xfrm>
            <a:custGeom>
              <a:avLst/>
              <a:gdLst>
                <a:gd name="T0" fmla="*/ 22 w 40"/>
                <a:gd name="T1" fmla="*/ 0 h 67"/>
                <a:gd name="T2" fmla="*/ 0 w 40"/>
                <a:gd name="T3" fmla="*/ 29 h 67"/>
                <a:gd name="T4" fmla="*/ 10 w 40"/>
                <a:gd name="T5" fmla="*/ 60 h 67"/>
                <a:gd name="T6" fmla="*/ 21 w 40"/>
                <a:gd name="T7" fmla="*/ 67 h 67"/>
                <a:gd name="T8" fmla="*/ 40 w 40"/>
                <a:gd name="T9" fmla="*/ 43 h 67"/>
                <a:gd name="T10" fmla="*/ 22 w 40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67">
                  <a:moveTo>
                    <a:pt x="22" y="0"/>
                  </a:moveTo>
                  <a:lnTo>
                    <a:pt x="0" y="29"/>
                  </a:lnTo>
                  <a:lnTo>
                    <a:pt x="10" y="60"/>
                  </a:lnTo>
                  <a:lnTo>
                    <a:pt x="21" y="67"/>
                  </a:lnTo>
                  <a:lnTo>
                    <a:pt x="40" y="43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03"/>
            <p:cNvSpPr>
              <a:spLocks/>
            </p:cNvSpPr>
            <p:nvPr/>
          </p:nvSpPr>
          <p:spPr bwMode="auto">
            <a:xfrm>
              <a:off x="8540750" y="4175125"/>
              <a:ext cx="20638" cy="17463"/>
            </a:xfrm>
            <a:custGeom>
              <a:avLst/>
              <a:gdLst>
                <a:gd name="T0" fmla="*/ 0 w 41"/>
                <a:gd name="T1" fmla="*/ 4 h 33"/>
                <a:gd name="T2" fmla="*/ 1 w 41"/>
                <a:gd name="T3" fmla="*/ 26 h 33"/>
                <a:gd name="T4" fmla="*/ 24 w 41"/>
                <a:gd name="T5" fmla="*/ 33 h 33"/>
                <a:gd name="T6" fmla="*/ 41 w 41"/>
                <a:gd name="T7" fmla="*/ 25 h 33"/>
                <a:gd name="T8" fmla="*/ 24 w 41"/>
                <a:gd name="T9" fmla="*/ 0 h 33"/>
                <a:gd name="T10" fmla="*/ 0 w 41"/>
                <a:gd name="T11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33">
                  <a:moveTo>
                    <a:pt x="0" y="4"/>
                  </a:moveTo>
                  <a:lnTo>
                    <a:pt x="1" y="26"/>
                  </a:lnTo>
                  <a:lnTo>
                    <a:pt x="24" y="33"/>
                  </a:lnTo>
                  <a:lnTo>
                    <a:pt x="41" y="25"/>
                  </a:lnTo>
                  <a:lnTo>
                    <a:pt x="2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04"/>
            <p:cNvSpPr>
              <a:spLocks/>
            </p:cNvSpPr>
            <p:nvPr/>
          </p:nvSpPr>
          <p:spPr bwMode="auto">
            <a:xfrm>
              <a:off x="8551863" y="4286250"/>
              <a:ext cx="22225" cy="17463"/>
            </a:xfrm>
            <a:custGeom>
              <a:avLst/>
              <a:gdLst>
                <a:gd name="T0" fmla="*/ 11 w 43"/>
                <a:gd name="T1" fmla="*/ 0 h 33"/>
                <a:gd name="T2" fmla="*/ 0 w 43"/>
                <a:gd name="T3" fmla="*/ 16 h 33"/>
                <a:gd name="T4" fmla="*/ 17 w 43"/>
                <a:gd name="T5" fmla="*/ 33 h 33"/>
                <a:gd name="T6" fmla="*/ 43 w 43"/>
                <a:gd name="T7" fmla="*/ 25 h 33"/>
                <a:gd name="T8" fmla="*/ 11 w 43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3">
                  <a:moveTo>
                    <a:pt x="11" y="0"/>
                  </a:moveTo>
                  <a:lnTo>
                    <a:pt x="0" y="16"/>
                  </a:lnTo>
                  <a:lnTo>
                    <a:pt x="17" y="33"/>
                  </a:lnTo>
                  <a:lnTo>
                    <a:pt x="43" y="25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05"/>
            <p:cNvSpPr>
              <a:spLocks/>
            </p:cNvSpPr>
            <p:nvPr/>
          </p:nvSpPr>
          <p:spPr bwMode="auto">
            <a:xfrm>
              <a:off x="8774113" y="4267200"/>
              <a:ext cx="12700" cy="44450"/>
            </a:xfrm>
            <a:custGeom>
              <a:avLst/>
              <a:gdLst>
                <a:gd name="T0" fmla="*/ 24 w 25"/>
                <a:gd name="T1" fmla="*/ 0 h 85"/>
                <a:gd name="T2" fmla="*/ 2 w 25"/>
                <a:gd name="T3" fmla="*/ 29 h 85"/>
                <a:gd name="T4" fmla="*/ 0 w 25"/>
                <a:gd name="T5" fmla="*/ 61 h 85"/>
                <a:gd name="T6" fmla="*/ 25 w 25"/>
                <a:gd name="T7" fmla="*/ 85 h 85"/>
                <a:gd name="T8" fmla="*/ 24 w 25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85">
                  <a:moveTo>
                    <a:pt x="24" y="0"/>
                  </a:moveTo>
                  <a:lnTo>
                    <a:pt x="2" y="29"/>
                  </a:lnTo>
                  <a:lnTo>
                    <a:pt x="0" y="61"/>
                  </a:lnTo>
                  <a:lnTo>
                    <a:pt x="25" y="85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06"/>
            <p:cNvSpPr>
              <a:spLocks/>
            </p:cNvSpPr>
            <p:nvPr/>
          </p:nvSpPr>
          <p:spPr bwMode="auto">
            <a:xfrm>
              <a:off x="7286625" y="3227388"/>
              <a:ext cx="77788" cy="100013"/>
            </a:xfrm>
            <a:custGeom>
              <a:avLst/>
              <a:gdLst>
                <a:gd name="T0" fmla="*/ 105 w 146"/>
                <a:gd name="T1" fmla="*/ 0 h 188"/>
                <a:gd name="T2" fmla="*/ 90 w 146"/>
                <a:gd name="T3" fmla="*/ 27 h 188"/>
                <a:gd name="T4" fmla="*/ 82 w 146"/>
                <a:gd name="T5" fmla="*/ 62 h 188"/>
                <a:gd name="T6" fmla="*/ 0 w 146"/>
                <a:gd name="T7" fmla="*/ 166 h 188"/>
                <a:gd name="T8" fmla="*/ 5 w 146"/>
                <a:gd name="T9" fmla="*/ 188 h 188"/>
                <a:gd name="T10" fmla="*/ 40 w 146"/>
                <a:gd name="T11" fmla="*/ 183 h 188"/>
                <a:gd name="T12" fmla="*/ 146 w 146"/>
                <a:gd name="T13" fmla="*/ 64 h 188"/>
                <a:gd name="T14" fmla="*/ 105 w 146"/>
                <a:gd name="T15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6" h="188">
                  <a:moveTo>
                    <a:pt x="105" y="0"/>
                  </a:moveTo>
                  <a:lnTo>
                    <a:pt x="90" y="27"/>
                  </a:lnTo>
                  <a:lnTo>
                    <a:pt x="82" y="62"/>
                  </a:lnTo>
                  <a:lnTo>
                    <a:pt x="0" y="166"/>
                  </a:lnTo>
                  <a:lnTo>
                    <a:pt x="5" y="188"/>
                  </a:lnTo>
                  <a:lnTo>
                    <a:pt x="40" y="183"/>
                  </a:lnTo>
                  <a:lnTo>
                    <a:pt x="146" y="64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07"/>
            <p:cNvSpPr>
              <a:spLocks/>
            </p:cNvSpPr>
            <p:nvPr/>
          </p:nvSpPr>
          <p:spPr bwMode="auto">
            <a:xfrm>
              <a:off x="7412038" y="3206750"/>
              <a:ext cx="47625" cy="96838"/>
            </a:xfrm>
            <a:custGeom>
              <a:avLst/>
              <a:gdLst>
                <a:gd name="T0" fmla="*/ 2 w 89"/>
                <a:gd name="T1" fmla="*/ 0 h 185"/>
                <a:gd name="T2" fmla="*/ 0 w 89"/>
                <a:gd name="T3" fmla="*/ 86 h 185"/>
                <a:gd name="T4" fmla="*/ 31 w 89"/>
                <a:gd name="T5" fmla="*/ 117 h 185"/>
                <a:gd name="T6" fmla="*/ 42 w 89"/>
                <a:gd name="T7" fmla="*/ 178 h 185"/>
                <a:gd name="T8" fmla="*/ 74 w 89"/>
                <a:gd name="T9" fmla="*/ 185 h 185"/>
                <a:gd name="T10" fmla="*/ 89 w 89"/>
                <a:gd name="T11" fmla="*/ 146 h 185"/>
                <a:gd name="T12" fmla="*/ 64 w 89"/>
                <a:gd name="T13" fmla="*/ 128 h 185"/>
                <a:gd name="T14" fmla="*/ 57 w 89"/>
                <a:gd name="T15" fmla="*/ 22 h 185"/>
                <a:gd name="T16" fmla="*/ 2 w 89"/>
                <a:gd name="T17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85">
                  <a:moveTo>
                    <a:pt x="2" y="0"/>
                  </a:moveTo>
                  <a:lnTo>
                    <a:pt x="0" y="86"/>
                  </a:lnTo>
                  <a:lnTo>
                    <a:pt x="31" y="117"/>
                  </a:lnTo>
                  <a:lnTo>
                    <a:pt x="42" y="178"/>
                  </a:lnTo>
                  <a:lnTo>
                    <a:pt x="74" y="185"/>
                  </a:lnTo>
                  <a:lnTo>
                    <a:pt x="89" y="146"/>
                  </a:lnTo>
                  <a:lnTo>
                    <a:pt x="64" y="128"/>
                  </a:lnTo>
                  <a:lnTo>
                    <a:pt x="57" y="22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8"/>
            <p:cNvSpPr>
              <a:spLocks/>
            </p:cNvSpPr>
            <p:nvPr/>
          </p:nvSpPr>
          <p:spPr bwMode="auto">
            <a:xfrm>
              <a:off x="7459663" y="3224213"/>
              <a:ext cx="25400" cy="55563"/>
            </a:xfrm>
            <a:custGeom>
              <a:avLst/>
              <a:gdLst>
                <a:gd name="T0" fmla="*/ 1 w 49"/>
                <a:gd name="T1" fmla="*/ 0 h 105"/>
                <a:gd name="T2" fmla="*/ 0 w 49"/>
                <a:gd name="T3" fmla="*/ 76 h 105"/>
                <a:gd name="T4" fmla="*/ 17 w 49"/>
                <a:gd name="T5" fmla="*/ 105 h 105"/>
                <a:gd name="T6" fmla="*/ 49 w 49"/>
                <a:gd name="T7" fmla="*/ 69 h 105"/>
                <a:gd name="T8" fmla="*/ 40 w 49"/>
                <a:gd name="T9" fmla="*/ 3 h 105"/>
                <a:gd name="T10" fmla="*/ 1 w 49"/>
                <a:gd name="T1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105">
                  <a:moveTo>
                    <a:pt x="1" y="0"/>
                  </a:moveTo>
                  <a:lnTo>
                    <a:pt x="0" y="76"/>
                  </a:lnTo>
                  <a:lnTo>
                    <a:pt x="17" y="105"/>
                  </a:lnTo>
                  <a:lnTo>
                    <a:pt x="49" y="69"/>
                  </a:lnTo>
                  <a:lnTo>
                    <a:pt x="4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09"/>
            <p:cNvSpPr>
              <a:spLocks/>
            </p:cNvSpPr>
            <p:nvPr/>
          </p:nvSpPr>
          <p:spPr bwMode="auto">
            <a:xfrm>
              <a:off x="7470775" y="3184525"/>
              <a:ext cx="38100" cy="47625"/>
            </a:xfrm>
            <a:custGeom>
              <a:avLst/>
              <a:gdLst>
                <a:gd name="T0" fmla="*/ 0 w 73"/>
                <a:gd name="T1" fmla="*/ 8 h 89"/>
                <a:gd name="T2" fmla="*/ 31 w 73"/>
                <a:gd name="T3" fmla="*/ 49 h 89"/>
                <a:gd name="T4" fmla="*/ 46 w 73"/>
                <a:gd name="T5" fmla="*/ 89 h 89"/>
                <a:gd name="T6" fmla="*/ 73 w 73"/>
                <a:gd name="T7" fmla="*/ 89 h 89"/>
                <a:gd name="T8" fmla="*/ 68 w 73"/>
                <a:gd name="T9" fmla="*/ 21 h 89"/>
                <a:gd name="T10" fmla="*/ 38 w 73"/>
                <a:gd name="T11" fmla="*/ 0 h 89"/>
                <a:gd name="T12" fmla="*/ 0 w 73"/>
                <a:gd name="T13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89">
                  <a:moveTo>
                    <a:pt x="0" y="8"/>
                  </a:moveTo>
                  <a:lnTo>
                    <a:pt x="31" y="49"/>
                  </a:lnTo>
                  <a:lnTo>
                    <a:pt x="46" y="89"/>
                  </a:lnTo>
                  <a:lnTo>
                    <a:pt x="73" y="89"/>
                  </a:lnTo>
                  <a:lnTo>
                    <a:pt x="68" y="21"/>
                  </a:lnTo>
                  <a:lnTo>
                    <a:pt x="3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10"/>
            <p:cNvSpPr>
              <a:spLocks/>
            </p:cNvSpPr>
            <p:nvPr/>
          </p:nvSpPr>
          <p:spPr bwMode="auto">
            <a:xfrm>
              <a:off x="7423150" y="3270250"/>
              <a:ext cx="119063" cy="133350"/>
            </a:xfrm>
            <a:custGeom>
              <a:avLst/>
              <a:gdLst>
                <a:gd name="T0" fmla="*/ 149 w 225"/>
                <a:gd name="T1" fmla="*/ 0 h 250"/>
                <a:gd name="T2" fmla="*/ 156 w 225"/>
                <a:gd name="T3" fmla="*/ 50 h 250"/>
                <a:gd name="T4" fmla="*/ 98 w 225"/>
                <a:gd name="T5" fmla="*/ 96 h 250"/>
                <a:gd name="T6" fmla="*/ 51 w 225"/>
                <a:gd name="T7" fmla="*/ 101 h 250"/>
                <a:gd name="T8" fmla="*/ 0 w 225"/>
                <a:gd name="T9" fmla="*/ 155 h 250"/>
                <a:gd name="T10" fmla="*/ 2 w 225"/>
                <a:gd name="T11" fmla="*/ 180 h 250"/>
                <a:gd name="T12" fmla="*/ 50 w 225"/>
                <a:gd name="T13" fmla="*/ 166 h 250"/>
                <a:gd name="T14" fmla="*/ 82 w 225"/>
                <a:gd name="T15" fmla="*/ 144 h 250"/>
                <a:gd name="T16" fmla="*/ 111 w 225"/>
                <a:gd name="T17" fmla="*/ 214 h 250"/>
                <a:gd name="T18" fmla="*/ 159 w 225"/>
                <a:gd name="T19" fmla="*/ 250 h 250"/>
                <a:gd name="T20" fmla="*/ 179 w 225"/>
                <a:gd name="T21" fmla="*/ 243 h 250"/>
                <a:gd name="T22" fmla="*/ 197 w 225"/>
                <a:gd name="T23" fmla="*/ 221 h 250"/>
                <a:gd name="T24" fmla="*/ 158 w 225"/>
                <a:gd name="T25" fmla="*/ 182 h 250"/>
                <a:gd name="T26" fmla="*/ 181 w 225"/>
                <a:gd name="T27" fmla="*/ 164 h 250"/>
                <a:gd name="T28" fmla="*/ 207 w 225"/>
                <a:gd name="T29" fmla="*/ 185 h 250"/>
                <a:gd name="T30" fmla="*/ 225 w 225"/>
                <a:gd name="T31" fmla="*/ 155 h 250"/>
                <a:gd name="T32" fmla="*/ 207 w 225"/>
                <a:gd name="T33" fmla="*/ 119 h 250"/>
                <a:gd name="T34" fmla="*/ 204 w 225"/>
                <a:gd name="T35" fmla="*/ 38 h 250"/>
                <a:gd name="T36" fmla="*/ 149 w 225"/>
                <a:gd name="T3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5" h="250">
                  <a:moveTo>
                    <a:pt x="149" y="0"/>
                  </a:moveTo>
                  <a:lnTo>
                    <a:pt x="156" y="50"/>
                  </a:lnTo>
                  <a:lnTo>
                    <a:pt x="98" y="96"/>
                  </a:lnTo>
                  <a:lnTo>
                    <a:pt x="51" y="101"/>
                  </a:lnTo>
                  <a:lnTo>
                    <a:pt x="0" y="155"/>
                  </a:lnTo>
                  <a:lnTo>
                    <a:pt x="2" y="180"/>
                  </a:lnTo>
                  <a:lnTo>
                    <a:pt x="50" y="166"/>
                  </a:lnTo>
                  <a:lnTo>
                    <a:pt x="82" y="144"/>
                  </a:lnTo>
                  <a:lnTo>
                    <a:pt x="111" y="214"/>
                  </a:lnTo>
                  <a:lnTo>
                    <a:pt x="159" y="250"/>
                  </a:lnTo>
                  <a:lnTo>
                    <a:pt x="179" y="243"/>
                  </a:lnTo>
                  <a:lnTo>
                    <a:pt x="197" y="221"/>
                  </a:lnTo>
                  <a:lnTo>
                    <a:pt x="158" y="182"/>
                  </a:lnTo>
                  <a:lnTo>
                    <a:pt x="181" y="164"/>
                  </a:lnTo>
                  <a:lnTo>
                    <a:pt x="207" y="185"/>
                  </a:lnTo>
                  <a:lnTo>
                    <a:pt x="225" y="155"/>
                  </a:lnTo>
                  <a:lnTo>
                    <a:pt x="207" y="119"/>
                  </a:lnTo>
                  <a:lnTo>
                    <a:pt x="204" y="38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11"/>
            <p:cNvSpPr>
              <a:spLocks/>
            </p:cNvSpPr>
            <p:nvPr/>
          </p:nvSpPr>
          <p:spPr bwMode="auto">
            <a:xfrm>
              <a:off x="7334250" y="3005138"/>
              <a:ext cx="127000" cy="168275"/>
            </a:xfrm>
            <a:custGeom>
              <a:avLst/>
              <a:gdLst>
                <a:gd name="T0" fmla="*/ 49 w 238"/>
                <a:gd name="T1" fmla="*/ 0 h 318"/>
                <a:gd name="T2" fmla="*/ 6 w 238"/>
                <a:gd name="T3" fmla="*/ 31 h 318"/>
                <a:gd name="T4" fmla="*/ 0 w 238"/>
                <a:gd name="T5" fmla="*/ 131 h 318"/>
                <a:gd name="T6" fmla="*/ 69 w 238"/>
                <a:gd name="T7" fmla="*/ 264 h 318"/>
                <a:gd name="T8" fmla="*/ 92 w 238"/>
                <a:gd name="T9" fmla="*/ 282 h 318"/>
                <a:gd name="T10" fmla="*/ 121 w 238"/>
                <a:gd name="T11" fmla="*/ 263 h 318"/>
                <a:gd name="T12" fmla="*/ 172 w 238"/>
                <a:gd name="T13" fmla="*/ 271 h 318"/>
                <a:gd name="T14" fmla="*/ 182 w 238"/>
                <a:gd name="T15" fmla="*/ 315 h 318"/>
                <a:gd name="T16" fmla="*/ 220 w 238"/>
                <a:gd name="T17" fmla="*/ 318 h 318"/>
                <a:gd name="T18" fmla="*/ 238 w 238"/>
                <a:gd name="T19" fmla="*/ 293 h 318"/>
                <a:gd name="T20" fmla="*/ 215 w 238"/>
                <a:gd name="T21" fmla="*/ 263 h 318"/>
                <a:gd name="T22" fmla="*/ 187 w 238"/>
                <a:gd name="T23" fmla="*/ 236 h 318"/>
                <a:gd name="T24" fmla="*/ 128 w 238"/>
                <a:gd name="T25" fmla="*/ 229 h 318"/>
                <a:gd name="T26" fmla="*/ 97 w 238"/>
                <a:gd name="T27" fmla="*/ 178 h 318"/>
                <a:gd name="T28" fmla="*/ 132 w 238"/>
                <a:gd name="T29" fmla="*/ 123 h 318"/>
                <a:gd name="T30" fmla="*/ 136 w 238"/>
                <a:gd name="T31" fmla="*/ 76 h 318"/>
                <a:gd name="T32" fmla="*/ 111 w 238"/>
                <a:gd name="T33" fmla="*/ 15 h 318"/>
                <a:gd name="T34" fmla="*/ 49 w 238"/>
                <a:gd name="T3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8" h="318">
                  <a:moveTo>
                    <a:pt x="49" y="0"/>
                  </a:moveTo>
                  <a:lnTo>
                    <a:pt x="6" y="31"/>
                  </a:lnTo>
                  <a:lnTo>
                    <a:pt x="0" y="131"/>
                  </a:lnTo>
                  <a:lnTo>
                    <a:pt x="69" y="264"/>
                  </a:lnTo>
                  <a:lnTo>
                    <a:pt x="92" y="282"/>
                  </a:lnTo>
                  <a:lnTo>
                    <a:pt x="121" y="263"/>
                  </a:lnTo>
                  <a:lnTo>
                    <a:pt x="172" y="271"/>
                  </a:lnTo>
                  <a:lnTo>
                    <a:pt x="182" y="315"/>
                  </a:lnTo>
                  <a:lnTo>
                    <a:pt x="220" y="318"/>
                  </a:lnTo>
                  <a:lnTo>
                    <a:pt x="238" y="293"/>
                  </a:lnTo>
                  <a:lnTo>
                    <a:pt x="215" y="263"/>
                  </a:lnTo>
                  <a:lnTo>
                    <a:pt x="187" y="236"/>
                  </a:lnTo>
                  <a:lnTo>
                    <a:pt x="128" y="229"/>
                  </a:lnTo>
                  <a:lnTo>
                    <a:pt x="97" y="178"/>
                  </a:lnTo>
                  <a:lnTo>
                    <a:pt x="132" y="123"/>
                  </a:lnTo>
                  <a:lnTo>
                    <a:pt x="136" y="76"/>
                  </a:lnTo>
                  <a:lnTo>
                    <a:pt x="111" y="15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12"/>
            <p:cNvSpPr>
              <a:spLocks/>
            </p:cNvSpPr>
            <p:nvPr/>
          </p:nvSpPr>
          <p:spPr bwMode="auto">
            <a:xfrm>
              <a:off x="7373938" y="3160713"/>
              <a:ext cx="26988" cy="31750"/>
            </a:xfrm>
            <a:custGeom>
              <a:avLst/>
              <a:gdLst>
                <a:gd name="T0" fmla="*/ 0 w 52"/>
                <a:gd name="T1" fmla="*/ 0 h 61"/>
                <a:gd name="T2" fmla="*/ 13 w 52"/>
                <a:gd name="T3" fmla="*/ 47 h 61"/>
                <a:gd name="T4" fmla="*/ 35 w 52"/>
                <a:gd name="T5" fmla="*/ 61 h 61"/>
                <a:gd name="T6" fmla="*/ 52 w 52"/>
                <a:gd name="T7" fmla="*/ 40 h 61"/>
                <a:gd name="T8" fmla="*/ 26 w 52"/>
                <a:gd name="T9" fmla="*/ 4 h 61"/>
                <a:gd name="T10" fmla="*/ 0 w 52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61">
                  <a:moveTo>
                    <a:pt x="0" y="0"/>
                  </a:moveTo>
                  <a:lnTo>
                    <a:pt x="13" y="47"/>
                  </a:lnTo>
                  <a:lnTo>
                    <a:pt x="35" y="61"/>
                  </a:lnTo>
                  <a:lnTo>
                    <a:pt x="52" y="40"/>
                  </a:lnTo>
                  <a:lnTo>
                    <a:pt x="26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3"/>
            <p:cNvSpPr>
              <a:spLocks/>
            </p:cNvSpPr>
            <p:nvPr/>
          </p:nvSpPr>
          <p:spPr bwMode="auto">
            <a:xfrm>
              <a:off x="7037388" y="2979738"/>
              <a:ext cx="58738" cy="50800"/>
            </a:xfrm>
            <a:custGeom>
              <a:avLst/>
              <a:gdLst>
                <a:gd name="T0" fmla="*/ 70 w 111"/>
                <a:gd name="T1" fmla="*/ 0 h 98"/>
                <a:gd name="T2" fmla="*/ 30 w 111"/>
                <a:gd name="T3" fmla="*/ 11 h 98"/>
                <a:gd name="T4" fmla="*/ 0 w 111"/>
                <a:gd name="T5" fmla="*/ 48 h 98"/>
                <a:gd name="T6" fmla="*/ 25 w 111"/>
                <a:gd name="T7" fmla="*/ 95 h 98"/>
                <a:gd name="T8" fmla="*/ 60 w 111"/>
                <a:gd name="T9" fmla="*/ 98 h 98"/>
                <a:gd name="T10" fmla="*/ 102 w 111"/>
                <a:gd name="T11" fmla="*/ 63 h 98"/>
                <a:gd name="T12" fmla="*/ 111 w 111"/>
                <a:gd name="T13" fmla="*/ 15 h 98"/>
                <a:gd name="T14" fmla="*/ 70 w 111"/>
                <a:gd name="T1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98">
                  <a:moveTo>
                    <a:pt x="70" y="0"/>
                  </a:moveTo>
                  <a:lnTo>
                    <a:pt x="30" y="11"/>
                  </a:lnTo>
                  <a:lnTo>
                    <a:pt x="0" y="48"/>
                  </a:lnTo>
                  <a:lnTo>
                    <a:pt x="25" y="95"/>
                  </a:lnTo>
                  <a:lnTo>
                    <a:pt x="60" y="98"/>
                  </a:lnTo>
                  <a:lnTo>
                    <a:pt x="102" y="63"/>
                  </a:lnTo>
                  <a:lnTo>
                    <a:pt x="111" y="15"/>
                  </a:lnTo>
                  <a:lnTo>
                    <a:pt x="7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14"/>
            <p:cNvSpPr>
              <a:spLocks/>
            </p:cNvSpPr>
            <p:nvPr/>
          </p:nvSpPr>
          <p:spPr bwMode="auto">
            <a:xfrm>
              <a:off x="7291388" y="2781300"/>
              <a:ext cx="34925" cy="103188"/>
            </a:xfrm>
            <a:custGeom>
              <a:avLst/>
              <a:gdLst>
                <a:gd name="T0" fmla="*/ 64 w 66"/>
                <a:gd name="T1" fmla="*/ 0 h 197"/>
                <a:gd name="T2" fmla="*/ 3 w 66"/>
                <a:gd name="T3" fmla="*/ 47 h 197"/>
                <a:gd name="T4" fmla="*/ 0 w 66"/>
                <a:gd name="T5" fmla="*/ 136 h 197"/>
                <a:gd name="T6" fmla="*/ 53 w 66"/>
                <a:gd name="T7" fmla="*/ 197 h 197"/>
                <a:gd name="T8" fmla="*/ 66 w 66"/>
                <a:gd name="T9" fmla="*/ 185 h 197"/>
                <a:gd name="T10" fmla="*/ 64 w 66"/>
                <a:gd name="T11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197">
                  <a:moveTo>
                    <a:pt x="64" y="0"/>
                  </a:moveTo>
                  <a:lnTo>
                    <a:pt x="3" y="47"/>
                  </a:lnTo>
                  <a:lnTo>
                    <a:pt x="0" y="136"/>
                  </a:lnTo>
                  <a:lnTo>
                    <a:pt x="53" y="197"/>
                  </a:lnTo>
                  <a:lnTo>
                    <a:pt x="66" y="185"/>
                  </a:lnTo>
                  <a:lnTo>
                    <a:pt x="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5"/>
            <p:cNvSpPr>
              <a:spLocks/>
            </p:cNvSpPr>
            <p:nvPr/>
          </p:nvSpPr>
          <p:spPr bwMode="auto">
            <a:xfrm>
              <a:off x="7453313" y="2492375"/>
              <a:ext cx="65088" cy="93663"/>
            </a:xfrm>
            <a:custGeom>
              <a:avLst/>
              <a:gdLst>
                <a:gd name="T0" fmla="*/ 27 w 121"/>
                <a:gd name="T1" fmla="*/ 0 h 177"/>
                <a:gd name="T2" fmla="*/ 0 w 121"/>
                <a:gd name="T3" fmla="*/ 29 h 177"/>
                <a:gd name="T4" fmla="*/ 11 w 121"/>
                <a:gd name="T5" fmla="*/ 68 h 177"/>
                <a:gd name="T6" fmla="*/ 35 w 121"/>
                <a:gd name="T7" fmla="*/ 69 h 177"/>
                <a:gd name="T8" fmla="*/ 52 w 121"/>
                <a:gd name="T9" fmla="*/ 155 h 177"/>
                <a:gd name="T10" fmla="*/ 72 w 121"/>
                <a:gd name="T11" fmla="*/ 177 h 177"/>
                <a:gd name="T12" fmla="*/ 106 w 121"/>
                <a:gd name="T13" fmla="*/ 145 h 177"/>
                <a:gd name="T14" fmla="*/ 121 w 121"/>
                <a:gd name="T15" fmla="*/ 90 h 177"/>
                <a:gd name="T16" fmla="*/ 78 w 121"/>
                <a:gd name="T17" fmla="*/ 29 h 177"/>
                <a:gd name="T18" fmla="*/ 27 w 121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77">
                  <a:moveTo>
                    <a:pt x="27" y="0"/>
                  </a:moveTo>
                  <a:lnTo>
                    <a:pt x="0" y="29"/>
                  </a:lnTo>
                  <a:lnTo>
                    <a:pt x="11" y="68"/>
                  </a:lnTo>
                  <a:lnTo>
                    <a:pt x="35" y="69"/>
                  </a:lnTo>
                  <a:lnTo>
                    <a:pt x="52" y="155"/>
                  </a:lnTo>
                  <a:lnTo>
                    <a:pt x="72" y="177"/>
                  </a:lnTo>
                  <a:lnTo>
                    <a:pt x="106" y="145"/>
                  </a:lnTo>
                  <a:lnTo>
                    <a:pt x="121" y="90"/>
                  </a:lnTo>
                  <a:lnTo>
                    <a:pt x="78" y="29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16"/>
            <p:cNvSpPr>
              <a:spLocks/>
            </p:cNvSpPr>
            <p:nvPr/>
          </p:nvSpPr>
          <p:spPr bwMode="auto">
            <a:xfrm>
              <a:off x="7521575" y="2462213"/>
              <a:ext cx="41275" cy="58738"/>
            </a:xfrm>
            <a:custGeom>
              <a:avLst/>
              <a:gdLst>
                <a:gd name="T0" fmla="*/ 49 w 76"/>
                <a:gd name="T1" fmla="*/ 0 h 111"/>
                <a:gd name="T2" fmla="*/ 2 w 76"/>
                <a:gd name="T3" fmla="*/ 45 h 111"/>
                <a:gd name="T4" fmla="*/ 0 w 76"/>
                <a:gd name="T5" fmla="*/ 96 h 111"/>
                <a:gd name="T6" fmla="*/ 12 w 76"/>
                <a:gd name="T7" fmla="*/ 111 h 111"/>
                <a:gd name="T8" fmla="*/ 76 w 76"/>
                <a:gd name="T9" fmla="*/ 56 h 111"/>
                <a:gd name="T10" fmla="*/ 71 w 76"/>
                <a:gd name="T11" fmla="*/ 2 h 111"/>
                <a:gd name="T12" fmla="*/ 49 w 76"/>
                <a:gd name="T1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111">
                  <a:moveTo>
                    <a:pt x="49" y="0"/>
                  </a:moveTo>
                  <a:lnTo>
                    <a:pt x="2" y="45"/>
                  </a:lnTo>
                  <a:lnTo>
                    <a:pt x="0" y="96"/>
                  </a:lnTo>
                  <a:lnTo>
                    <a:pt x="12" y="111"/>
                  </a:lnTo>
                  <a:lnTo>
                    <a:pt x="76" y="56"/>
                  </a:lnTo>
                  <a:lnTo>
                    <a:pt x="71" y="2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17"/>
            <p:cNvSpPr>
              <a:spLocks/>
            </p:cNvSpPr>
            <p:nvPr/>
          </p:nvSpPr>
          <p:spPr bwMode="auto">
            <a:xfrm>
              <a:off x="7469188" y="2192338"/>
              <a:ext cx="225425" cy="279400"/>
            </a:xfrm>
            <a:custGeom>
              <a:avLst/>
              <a:gdLst>
                <a:gd name="T0" fmla="*/ 83 w 427"/>
                <a:gd name="T1" fmla="*/ 404 h 528"/>
                <a:gd name="T2" fmla="*/ 0 w 427"/>
                <a:gd name="T3" fmla="*/ 499 h 528"/>
                <a:gd name="T4" fmla="*/ 14 w 427"/>
                <a:gd name="T5" fmla="*/ 523 h 528"/>
                <a:gd name="T6" fmla="*/ 56 w 427"/>
                <a:gd name="T7" fmla="*/ 528 h 528"/>
                <a:gd name="T8" fmla="*/ 132 w 427"/>
                <a:gd name="T9" fmla="*/ 468 h 528"/>
                <a:gd name="T10" fmla="*/ 187 w 427"/>
                <a:gd name="T11" fmla="*/ 459 h 528"/>
                <a:gd name="T12" fmla="*/ 236 w 427"/>
                <a:gd name="T13" fmla="*/ 515 h 528"/>
                <a:gd name="T14" fmla="*/ 273 w 427"/>
                <a:gd name="T15" fmla="*/ 502 h 528"/>
                <a:gd name="T16" fmla="*/ 288 w 427"/>
                <a:gd name="T17" fmla="*/ 446 h 528"/>
                <a:gd name="T18" fmla="*/ 358 w 427"/>
                <a:gd name="T19" fmla="*/ 444 h 528"/>
                <a:gd name="T20" fmla="*/ 427 w 427"/>
                <a:gd name="T21" fmla="*/ 362 h 528"/>
                <a:gd name="T22" fmla="*/ 392 w 427"/>
                <a:gd name="T23" fmla="*/ 225 h 528"/>
                <a:gd name="T24" fmla="*/ 375 w 427"/>
                <a:gd name="T25" fmla="*/ 153 h 528"/>
                <a:gd name="T26" fmla="*/ 411 w 427"/>
                <a:gd name="T27" fmla="*/ 123 h 528"/>
                <a:gd name="T28" fmla="*/ 329 w 427"/>
                <a:gd name="T29" fmla="*/ 0 h 528"/>
                <a:gd name="T30" fmla="*/ 308 w 427"/>
                <a:gd name="T31" fmla="*/ 1 h 528"/>
                <a:gd name="T32" fmla="*/ 264 w 427"/>
                <a:gd name="T33" fmla="*/ 51 h 528"/>
                <a:gd name="T34" fmla="*/ 264 w 427"/>
                <a:gd name="T35" fmla="*/ 92 h 528"/>
                <a:gd name="T36" fmla="*/ 283 w 427"/>
                <a:gd name="T37" fmla="*/ 114 h 528"/>
                <a:gd name="T38" fmla="*/ 289 w 427"/>
                <a:gd name="T39" fmla="*/ 224 h 528"/>
                <a:gd name="T40" fmla="*/ 240 w 427"/>
                <a:gd name="T41" fmla="*/ 286 h 528"/>
                <a:gd name="T42" fmla="*/ 210 w 427"/>
                <a:gd name="T43" fmla="*/ 269 h 528"/>
                <a:gd name="T44" fmla="*/ 187 w 427"/>
                <a:gd name="T45" fmla="*/ 320 h 528"/>
                <a:gd name="T46" fmla="*/ 182 w 427"/>
                <a:gd name="T47" fmla="*/ 367 h 528"/>
                <a:gd name="T48" fmla="*/ 200 w 427"/>
                <a:gd name="T49" fmla="*/ 396 h 528"/>
                <a:gd name="T50" fmla="*/ 188 w 427"/>
                <a:gd name="T51" fmla="*/ 417 h 528"/>
                <a:gd name="T52" fmla="*/ 150 w 427"/>
                <a:gd name="T53" fmla="*/ 386 h 528"/>
                <a:gd name="T54" fmla="*/ 124 w 427"/>
                <a:gd name="T55" fmla="*/ 386 h 528"/>
                <a:gd name="T56" fmla="*/ 102 w 427"/>
                <a:gd name="T57" fmla="*/ 399 h 528"/>
                <a:gd name="T58" fmla="*/ 83 w 427"/>
                <a:gd name="T59" fmla="*/ 404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7" h="528">
                  <a:moveTo>
                    <a:pt x="83" y="404"/>
                  </a:moveTo>
                  <a:lnTo>
                    <a:pt x="0" y="499"/>
                  </a:lnTo>
                  <a:lnTo>
                    <a:pt x="14" y="523"/>
                  </a:lnTo>
                  <a:lnTo>
                    <a:pt x="56" y="528"/>
                  </a:lnTo>
                  <a:lnTo>
                    <a:pt x="132" y="468"/>
                  </a:lnTo>
                  <a:lnTo>
                    <a:pt x="187" y="459"/>
                  </a:lnTo>
                  <a:lnTo>
                    <a:pt x="236" y="515"/>
                  </a:lnTo>
                  <a:lnTo>
                    <a:pt x="273" y="502"/>
                  </a:lnTo>
                  <a:lnTo>
                    <a:pt x="288" y="446"/>
                  </a:lnTo>
                  <a:lnTo>
                    <a:pt x="358" y="444"/>
                  </a:lnTo>
                  <a:lnTo>
                    <a:pt x="427" y="362"/>
                  </a:lnTo>
                  <a:lnTo>
                    <a:pt x="392" y="225"/>
                  </a:lnTo>
                  <a:lnTo>
                    <a:pt x="375" y="153"/>
                  </a:lnTo>
                  <a:lnTo>
                    <a:pt x="411" y="123"/>
                  </a:lnTo>
                  <a:lnTo>
                    <a:pt x="329" y="0"/>
                  </a:lnTo>
                  <a:lnTo>
                    <a:pt x="308" y="1"/>
                  </a:lnTo>
                  <a:lnTo>
                    <a:pt x="264" y="51"/>
                  </a:lnTo>
                  <a:lnTo>
                    <a:pt x="264" y="92"/>
                  </a:lnTo>
                  <a:lnTo>
                    <a:pt x="283" y="114"/>
                  </a:lnTo>
                  <a:lnTo>
                    <a:pt x="289" y="224"/>
                  </a:lnTo>
                  <a:lnTo>
                    <a:pt x="240" y="286"/>
                  </a:lnTo>
                  <a:lnTo>
                    <a:pt x="210" y="269"/>
                  </a:lnTo>
                  <a:lnTo>
                    <a:pt x="187" y="320"/>
                  </a:lnTo>
                  <a:lnTo>
                    <a:pt x="182" y="367"/>
                  </a:lnTo>
                  <a:lnTo>
                    <a:pt x="200" y="396"/>
                  </a:lnTo>
                  <a:lnTo>
                    <a:pt x="188" y="417"/>
                  </a:lnTo>
                  <a:lnTo>
                    <a:pt x="150" y="386"/>
                  </a:lnTo>
                  <a:lnTo>
                    <a:pt x="124" y="386"/>
                  </a:lnTo>
                  <a:lnTo>
                    <a:pt x="102" y="399"/>
                  </a:lnTo>
                  <a:lnTo>
                    <a:pt x="83" y="4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8"/>
            <p:cNvSpPr>
              <a:spLocks/>
            </p:cNvSpPr>
            <p:nvPr/>
          </p:nvSpPr>
          <p:spPr bwMode="auto">
            <a:xfrm>
              <a:off x="7564438" y="2011363"/>
              <a:ext cx="139700" cy="173038"/>
            </a:xfrm>
            <a:custGeom>
              <a:avLst/>
              <a:gdLst>
                <a:gd name="T0" fmla="*/ 44 w 264"/>
                <a:gd name="T1" fmla="*/ 0 h 327"/>
                <a:gd name="T2" fmla="*/ 18 w 264"/>
                <a:gd name="T3" fmla="*/ 23 h 327"/>
                <a:gd name="T4" fmla="*/ 31 w 264"/>
                <a:gd name="T5" fmla="*/ 73 h 327"/>
                <a:gd name="T6" fmla="*/ 55 w 264"/>
                <a:gd name="T7" fmla="*/ 96 h 327"/>
                <a:gd name="T8" fmla="*/ 53 w 264"/>
                <a:gd name="T9" fmla="*/ 171 h 327"/>
                <a:gd name="T10" fmla="*/ 23 w 264"/>
                <a:gd name="T11" fmla="*/ 183 h 327"/>
                <a:gd name="T12" fmla="*/ 0 w 264"/>
                <a:gd name="T13" fmla="*/ 234 h 327"/>
                <a:gd name="T14" fmla="*/ 68 w 264"/>
                <a:gd name="T15" fmla="*/ 327 h 327"/>
                <a:gd name="T16" fmla="*/ 111 w 264"/>
                <a:gd name="T17" fmla="*/ 311 h 327"/>
                <a:gd name="T18" fmla="*/ 120 w 264"/>
                <a:gd name="T19" fmla="*/ 289 h 327"/>
                <a:gd name="T20" fmla="*/ 73 w 264"/>
                <a:gd name="T21" fmla="*/ 245 h 327"/>
                <a:gd name="T22" fmla="*/ 102 w 264"/>
                <a:gd name="T23" fmla="*/ 208 h 327"/>
                <a:gd name="T24" fmla="*/ 133 w 264"/>
                <a:gd name="T25" fmla="*/ 213 h 327"/>
                <a:gd name="T26" fmla="*/ 157 w 264"/>
                <a:gd name="T27" fmla="*/ 239 h 327"/>
                <a:gd name="T28" fmla="*/ 159 w 264"/>
                <a:gd name="T29" fmla="*/ 184 h 327"/>
                <a:gd name="T30" fmla="*/ 226 w 264"/>
                <a:gd name="T31" fmla="*/ 130 h 327"/>
                <a:gd name="T32" fmla="*/ 264 w 264"/>
                <a:gd name="T33" fmla="*/ 120 h 327"/>
                <a:gd name="T34" fmla="*/ 233 w 264"/>
                <a:gd name="T35" fmla="*/ 68 h 327"/>
                <a:gd name="T36" fmla="*/ 218 w 264"/>
                <a:gd name="T37" fmla="*/ 44 h 327"/>
                <a:gd name="T38" fmla="*/ 194 w 264"/>
                <a:gd name="T39" fmla="*/ 61 h 327"/>
                <a:gd name="T40" fmla="*/ 172 w 264"/>
                <a:gd name="T41" fmla="*/ 87 h 327"/>
                <a:gd name="T42" fmla="*/ 127 w 264"/>
                <a:gd name="T43" fmla="*/ 77 h 327"/>
                <a:gd name="T44" fmla="*/ 79 w 264"/>
                <a:gd name="T45" fmla="*/ 45 h 327"/>
                <a:gd name="T46" fmla="*/ 44 w 264"/>
                <a:gd name="T47" fmla="*/ 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4" h="327">
                  <a:moveTo>
                    <a:pt x="44" y="0"/>
                  </a:moveTo>
                  <a:lnTo>
                    <a:pt x="18" y="23"/>
                  </a:lnTo>
                  <a:lnTo>
                    <a:pt x="31" y="73"/>
                  </a:lnTo>
                  <a:lnTo>
                    <a:pt x="55" y="96"/>
                  </a:lnTo>
                  <a:lnTo>
                    <a:pt x="53" y="171"/>
                  </a:lnTo>
                  <a:lnTo>
                    <a:pt x="23" y="183"/>
                  </a:lnTo>
                  <a:lnTo>
                    <a:pt x="0" y="234"/>
                  </a:lnTo>
                  <a:lnTo>
                    <a:pt x="68" y="327"/>
                  </a:lnTo>
                  <a:lnTo>
                    <a:pt x="111" y="311"/>
                  </a:lnTo>
                  <a:lnTo>
                    <a:pt x="120" y="289"/>
                  </a:lnTo>
                  <a:lnTo>
                    <a:pt x="73" y="245"/>
                  </a:lnTo>
                  <a:lnTo>
                    <a:pt x="102" y="208"/>
                  </a:lnTo>
                  <a:lnTo>
                    <a:pt x="133" y="213"/>
                  </a:lnTo>
                  <a:lnTo>
                    <a:pt x="157" y="239"/>
                  </a:lnTo>
                  <a:lnTo>
                    <a:pt x="159" y="184"/>
                  </a:lnTo>
                  <a:lnTo>
                    <a:pt x="226" y="130"/>
                  </a:lnTo>
                  <a:lnTo>
                    <a:pt x="264" y="120"/>
                  </a:lnTo>
                  <a:lnTo>
                    <a:pt x="233" y="68"/>
                  </a:lnTo>
                  <a:lnTo>
                    <a:pt x="218" y="44"/>
                  </a:lnTo>
                  <a:lnTo>
                    <a:pt x="194" y="61"/>
                  </a:lnTo>
                  <a:lnTo>
                    <a:pt x="172" y="87"/>
                  </a:lnTo>
                  <a:lnTo>
                    <a:pt x="127" y="77"/>
                  </a:lnTo>
                  <a:lnTo>
                    <a:pt x="79" y="45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19"/>
            <p:cNvSpPr>
              <a:spLocks/>
            </p:cNvSpPr>
            <p:nvPr/>
          </p:nvSpPr>
          <p:spPr bwMode="auto">
            <a:xfrm>
              <a:off x="7694613" y="1984375"/>
              <a:ext cx="42863" cy="50800"/>
            </a:xfrm>
            <a:custGeom>
              <a:avLst/>
              <a:gdLst>
                <a:gd name="T0" fmla="*/ 47 w 81"/>
                <a:gd name="T1" fmla="*/ 0 h 95"/>
                <a:gd name="T2" fmla="*/ 0 w 81"/>
                <a:gd name="T3" fmla="*/ 64 h 95"/>
                <a:gd name="T4" fmla="*/ 3 w 81"/>
                <a:gd name="T5" fmla="*/ 95 h 95"/>
                <a:gd name="T6" fmla="*/ 27 w 81"/>
                <a:gd name="T7" fmla="*/ 85 h 95"/>
                <a:gd name="T8" fmla="*/ 81 w 81"/>
                <a:gd name="T9" fmla="*/ 18 h 95"/>
                <a:gd name="T10" fmla="*/ 47 w 81"/>
                <a:gd name="T1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95">
                  <a:moveTo>
                    <a:pt x="47" y="0"/>
                  </a:moveTo>
                  <a:lnTo>
                    <a:pt x="0" y="64"/>
                  </a:lnTo>
                  <a:lnTo>
                    <a:pt x="3" y="95"/>
                  </a:lnTo>
                  <a:lnTo>
                    <a:pt x="27" y="85"/>
                  </a:lnTo>
                  <a:lnTo>
                    <a:pt x="81" y="18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20"/>
            <p:cNvSpPr>
              <a:spLocks/>
            </p:cNvSpPr>
            <p:nvPr/>
          </p:nvSpPr>
          <p:spPr bwMode="auto">
            <a:xfrm>
              <a:off x="7742238" y="1925638"/>
              <a:ext cx="30163" cy="49213"/>
            </a:xfrm>
            <a:custGeom>
              <a:avLst/>
              <a:gdLst>
                <a:gd name="T0" fmla="*/ 16 w 56"/>
                <a:gd name="T1" fmla="*/ 16 h 91"/>
                <a:gd name="T2" fmla="*/ 0 w 56"/>
                <a:gd name="T3" fmla="*/ 61 h 91"/>
                <a:gd name="T4" fmla="*/ 2 w 56"/>
                <a:gd name="T5" fmla="*/ 91 h 91"/>
                <a:gd name="T6" fmla="*/ 29 w 56"/>
                <a:gd name="T7" fmla="*/ 72 h 91"/>
                <a:gd name="T8" fmla="*/ 56 w 56"/>
                <a:gd name="T9" fmla="*/ 20 h 91"/>
                <a:gd name="T10" fmla="*/ 56 w 56"/>
                <a:gd name="T11" fmla="*/ 0 h 91"/>
                <a:gd name="T12" fmla="*/ 16 w 56"/>
                <a:gd name="T13" fmla="*/ 1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91">
                  <a:moveTo>
                    <a:pt x="16" y="16"/>
                  </a:moveTo>
                  <a:lnTo>
                    <a:pt x="0" y="61"/>
                  </a:lnTo>
                  <a:lnTo>
                    <a:pt x="2" y="91"/>
                  </a:lnTo>
                  <a:lnTo>
                    <a:pt x="29" y="72"/>
                  </a:lnTo>
                  <a:lnTo>
                    <a:pt x="56" y="20"/>
                  </a:lnTo>
                  <a:lnTo>
                    <a:pt x="56" y="0"/>
                  </a:ln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21"/>
            <p:cNvSpPr>
              <a:spLocks/>
            </p:cNvSpPr>
            <p:nvPr/>
          </p:nvSpPr>
          <p:spPr bwMode="auto">
            <a:xfrm>
              <a:off x="7789863" y="1727200"/>
              <a:ext cx="30163" cy="36513"/>
            </a:xfrm>
            <a:custGeom>
              <a:avLst/>
              <a:gdLst>
                <a:gd name="T0" fmla="*/ 21 w 55"/>
                <a:gd name="T1" fmla="*/ 0 h 68"/>
                <a:gd name="T2" fmla="*/ 0 w 55"/>
                <a:gd name="T3" fmla="*/ 26 h 68"/>
                <a:gd name="T4" fmla="*/ 2 w 55"/>
                <a:gd name="T5" fmla="*/ 68 h 68"/>
                <a:gd name="T6" fmla="*/ 22 w 55"/>
                <a:gd name="T7" fmla="*/ 66 h 68"/>
                <a:gd name="T8" fmla="*/ 55 w 55"/>
                <a:gd name="T9" fmla="*/ 8 h 68"/>
                <a:gd name="T10" fmla="*/ 21 w 55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68">
                  <a:moveTo>
                    <a:pt x="21" y="0"/>
                  </a:moveTo>
                  <a:lnTo>
                    <a:pt x="0" y="26"/>
                  </a:lnTo>
                  <a:lnTo>
                    <a:pt x="2" y="68"/>
                  </a:lnTo>
                  <a:lnTo>
                    <a:pt x="22" y="66"/>
                  </a:lnTo>
                  <a:lnTo>
                    <a:pt x="55" y="8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22"/>
            <p:cNvSpPr>
              <a:spLocks/>
            </p:cNvSpPr>
            <p:nvPr/>
          </p:nvSpPr>
          <p:spPr bwMode="auto">
            <a:xfrm>
              <a:off x="7781925" y="1779588"/>
              <a:ext cx="20638" cy="42863"/>
            </a:xfrm>
            <a:custGeom>
              <a:avLst/>
              <a:gdLst>
                <a:gd name="T0" fmla="*/ 0 w 39"/>
                <a:gd name="T1" fmla="*/ 1 h 82"/>
                <a:gd name="T2" fmla="*/ 0 w 39"/>
                <a:gd name="T3" fmla="*/ 74 h 82"/>
                <a:gd name="T4" fmla="*/ 22 w 39"/>
                <a:gd name="T5" fmla="*/ 82 h 82"/>
                <a:gd name="T6" fmla="*/ 39 w 39"/>
                <a:gd name="T7" fmla="*/ 56 h 82"/>
                <a:gd name="T8" fmla="*/ 39 w 39"/>
                <a:gd name="T9" fmla="*/ 0 h 82"/>
                <a:gd name="T10" fmla="*/ 0 w 39"/>
                <a:gd name="T11" fmla="*/ 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82">
                  <a:moveTo>
                    <a:pt x="0" y="1"/>
                  </a:moveTo>
                  <a:lnTo>
                    <a:pt x="0" y="74"/>
                  </a:lnTo>
                  <a:lnTo>
                    <a:pt x="22" y="82"/>
                  </a:lnTo>
                  <a:lnTo>
                    <a:pt x="39" y="56"/>
                  </a:lnTo>
                  <a:lnTo>
                    <a:pt x="39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23"/>
            <p:cNvSpPr>
              <a:spLocks/>
            </p:cNvSpPr>
            <p:nvPr/>
          </p:nvSpPr>
          <p:spPr bwMode="auto">
            <a:xfrm>
              <a:off x="7426325" y="1641475"/>
              <a:ext cx="177800" cy="349250"/>
            </a:xfrm>
            <a:custGeom>
              <a:avLst/>
              <a:gdLst>
                <a:gd name="T0" fmla="*/ 2 w 338"/>
                <a:gd name="T1" fmla="*/ 0 h 659"/>
                <a:gd name="T2" fmla="*/ 0 w 338"/>
                <a:gd name="T3" fmla="*/ 106 h 659"/>
                <a:gd name="T4" fmla="*/ 133 w 338"/>
                <a:gd name="T5" fmla="*/ 311 h 659"/>
                <a:gd name="T6" fmla="*/ 181 w 338"/>
                <a:gd name="T7" fmla="*/ 489 h 659"/>
                <a:gd name="T8" fmla="*/ 264 w 338"/>
                <a:gd name="T9" fmla="*/ 647 h 659"/>
                <a:gd name="T10" fmla="*/ 296 w 338"/>
                <a:gd name="T11" fmla="*/ 659 h 659"/>
                <a:gd name="T12" fmla="*/ 325 w 338"/>
                <a:gd name="T13" fmla="*/ 636 h 659"/>
                <a:gd name="T14" fmla="*/ 338 w 338"/>
                <a:gd name="T15" fmla="*/ 597 h 659"/>
                <a:gd name="T16" fmla="*/ 218 w 338"/>
                <a:gd name="T17" fmla="*/ 467 h 659"/>
                <a:gd name="T18" fmla="*/ 221 w 338"/>
                <a:gd name="T19" fmla="*/ 399 h 659"/>
                <a:gd name="T20" fmla="*/ 248 w 338"/>
                <a:gd name="T21" fmla="*/ 388 h 659"/>
                <a:gd name="T22" fmla="*/ 254 w 338"/>
                <a:gd name="T23" fmla="*/ 348 h 659"/>
                <a:gd name="T24" fmla="*/ 20 w 338"/>
                <a:gd name="T25" fmla="*/ 16 h 659"/>
                <a:gd name="T26" fmla="*/ 2 w 338"/>
                <a:gd name="T27" fmla="*/ 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8" h="659">
                  <a:moveTo>
                    <a:pt x="2" y="0"/>
                  </a:moveTo>
                  <a:lnTo>
                    <a:pt x="0" y="106"/>
                  </a:lnTo>
                  <a:lnTo>
                    <a:pt x="133" y="311"/>
                  </a:lnTo>
                  <a:lnTo>
                    <a:pt x="181" y="489"/>
                  </a:lnTo>
                  <a:lnTo>
                    <a:pt x="264" y="647"/>
                  </a:lnTo>
                  <a:lnTo>
                    <a:pt x="296" y="659"/>
                  </a:lnTo>
                  <a:lnTo>
                    <a:pt x="325" y="636"/>
                  </a:lnTo>
                  <a:lnTo>
                    <a:pt x="338" y="597"/>
                  </a:lnTo>
                  <a:lnTo>
                    <a:pt x="218" y="467"/>
                  </a:lnTo>
                  <a:lnTo>
                    <a:pt x="221" y="399"/>
                  </a:lnTo>
                  <a:lnTo>
                    <a:pt x="248" y="388"/>
                  </a:lnTo>
                  <a:lnTo>
                    <a:pt x="254" y="348"/>
                  </a:lnTo>
                  <a:lnTo>
                    <a:pt x="20" y="16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24"/>
            <p:cNvSpPr>
              <a:spLocks/>
            </p:cNvSpPr>
            <p:nvPr/>
          </p:nvSpPr>
          <p:spPr bwMode="auto">
            <a:xfrm>
              <a:off x="7897813" y="1468438"/>
              <a:ext cx="38100" cy="30163"/>
            </a:xfrm>
            <a:custGeom>
              <a:avLst/>
              <a:gdLst>
                <a:gd name="T0" fmla="*/ 33 w 72"/>
                <a:gd name="T1" fmla="*/ 0 h 59"/>
                <a:gd name="T2" fmla="*/ 0 w 72"/>
                <a:gd name="T3" fmla="*/ 3 h 59"/>
                <a:gd name="T4" fmla="*/ 19 w 72"/>
                <a:gd name="T5" fmla="*/ 31 h 59"/>
                <a:gd name="T6" fmla="*/ 60 w 72"/>
                <a:gd name="T7" fmla="*/ 59 h 59"/>
                <a:gd name="T8" fmla="*/ 72 w 72"/>
                <a:gd name="T9" fmla="*/ 46 h 59"/>
                <a:gd name="T10" fmla="*/ 33 w 72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59">
                  <a:moveTo>
                    <a:pt x="33" y="0"/>
                  </a:moveTo>
                  <a:lnTo>
                    <a:pt x="0" y="3"/>
                  </a:lnTo>
                  <a:lnTo>
                    <a:pt x="19" y="31"/>
                  </a:lnTo>
                  <a:lnTo>
                    <a:pt x="60" y="59"/>
                  </a:lnTo>
                  <a:lnTo>
                    <a:pt x="72" y="46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25"/>
            <p:cNvSpPr>
              <a:spLocks/>
            </p:cNvSpPr>
            <p:nvPr/>
          </p:nvSpPr>
          <p:spPr bwMode="auto">
            <a:xfrm>
              <a:off x="7950200" y="1477963"/>
              <a:ext cx="30163" cy="22225"/>
            </a:xfrm>
            <a:custGeom>
              <a:avLst/>
              <a:gdLst>
                <a:gd name="T0" fmla="*/ 0 w 59"/>
                <a:gd name="T1" fmla="*/ 0 h 42"/>
                <a:gd name="T2" fmla="*/ 4 w 59"/>
                <a:gd name="T3" fmla="*/ 28 h 42"/>
                <a:gd name="T4" fmla="*/ 54 w 59"/>
                <a:gd name="T5" fmla="*/ 42 h 42"/>
                <a:gd name="T6" fmla="*/ 59 w 59"/>
                <a:gd name="T7" fmla="*/ 23 h 42"/>
                <a:gd name="T8" fmla="*/ 0 w 59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2">
                  <a:moveTo>
                    <a:pt x="0" y="0"/>
                  </a:moveTo>
                  <a:lnTo>
                    <a:pt x="4" y="28"/>
                  </a:lnTo>
                  <a:lnTo>
                    <a:pt x="54" y="42"/>
                  </a:lnTo>
                  <a:lnTo>
                    <a:pt x="59" y="2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26"/>
            <p:cNvSpPr>
              <a:spLocks/>
            </p:cNvSpPr>
            <p:nvPr/>
          </p:nvSpPr>
          <p:spPr bwMode="auto">
            <a:xfrm>
              <a:off x="8096250" y="1535113"/>
              <a:ext cx="34925" cy="20638"/>
            </a:xfrm>
            <a:custGeom>
              <a:avLst/>
              <a:gdLst>
                <a:gd name="T0" fmla="*/ 0 w 64"/>
                <a:gd name="T1" fmla="*/ 0 h 39"/>
                <a:gd name="T2" fmla="*/ 21 w 64"/>
                <a:gd name="T3" fmla="*/ 39 h 39"/>
                <a:gd name="T4" fmla="*/ 56 w 64"/>
                <a:gd name="T5" fmla="*/ 37 h 39"/>
                <a:gd name="T6" fmla="*/ 64 w 64"/>
                <a:gd name="T7" fmla="*/ 10 h 39"/>
                <a:gd name="T8" fmla="*/ 0 w 64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39">
                  <a:moveTo>
                    <a:pt x="0" y="0"/>
                  </a:moveTo>
                  <a:lnTo>
                    <a:pt x="21" y="39"/>
                  </a:lnTo>
                  <a:lnTo>
                    <a:pt x="56" y="37"/>
                  </a:lnTo>
                  <a:lnTo>
                    <a:pt x="64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27"/>
            <p:cNvSpPr>
              <a:spLocks/>
            </p:cNvSpPr>
            <p:nvPr/>
          </p:nvSpPr>
          <p:spPr bwMode="auto">
            <a:xfrm>
              <a:off x="8286750" y="1563688"/>
              <a:ext cx="26988" cy="31750"/>
            </a:xfrm>
            <a:custGeom>
              <a:avLst/>
              <a:gdLst>
                <a:gd name="T0" fmla="*/ 0 w 50"/>
                <a:gd name="T1" fmla="*/ 7 h 60"/>
                <a:gd name="T2" fmla="*/ 28 w 50"/>
                <a:gd name="T3" fmla="*/ 60 h 60"/>
                <a:gd name="T4" fmla="*/ 50 w 50"/>
                <a:gd name="T5" fmla="*/ 37 h 60"/>
                <a:gd name="T6" fmla="*/ 50 w 50"/>
                <a:gd name="T7" fmla="*/ 0 h 60"/>
                <a:gd name="T8" fmla="*/ 0 w 50"/>
                <a:gd name="T9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0">
                  <a:moveTo>
                    <a:pt x="0" y="7"/>
                  </a:moveTo>
                  <a:lnTo>
                    <a:pt x="28" y="60"/>
                  </a:lnTo>
                  <a:lnTo>
                    <a:pt x="50" y="37"/>
                  </a:lnTo>
                  <a:lnTo>
                    <a:pt x="50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28"/>
            <p:cNvSpPr>
              <a:spLocks/>
            </p:cNvSpPr>
            <p:nvPr/>
          </p:nvSpPr>
          <p:spPr bwMode="auto">
            <a:xfrm>
              <a:off x="8394700" y="1477963"/>
              <a:ext cx="33338" cy="41275"/>
            </a:xfrm>
            <a:custGeom>
              <a:avLst/>
              <a:gdLst>
                <a:gd name="T0" fmla="*/ 41 w 64"/>
                <a:gd name="T1" fmla="*/ 0 h 77"/>
                <a:gd name="T2" fmla="*/ 0 w 64"/>
                <a:gd name="T3" fmla="*/ 52 h 77"/>
                <a:gd name="T4" fmla="*/ 9 w 64"/>
                <a:gd name="T5" fmla="*/ 77 h 77"/>
                <a:gd name="T6" fmla="*/ 60 w 64"/>
                <a:gd name="T7" fmla="*/ 45 h 77"/>
                <a:gd name="T8" fmla="*/ 64 w 64"/>
                <a:gd name="T9" fmla="*/ 14 h 77"/>
                <a:gd name="T10" fmla="*/ 41 w 64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77">
                  <a:moveTo>
                    <a:pt x="41" y="0"/>
                  </a:moveTo>
                  <a:lnTo>
                    <a:pt x="0" y="52"/>
                  </a:lnTo>
                  <a:lnTo>
                    <a:pt x="9" y="77"/>
                  </a:lnTo>
                  <a:lnTo>
                    <a:pt x="60" y="45"/>
                  </a:lnTo>
                  <a:lnTo>
                    <a:pt x="64" y="14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9"/>
            <p:cNvSpPr>
              <a:spLocks/>
            </p:cNvSpPr>
            <p:nvPr/>
          </p:nvSpPr>
          <p:spPr bwMode="auto">
            <a:xfrm>
              <a:off x="8504238" y="1390650"/>
              <a:ext cx="20638" cy="30163"/>
            </a:xfrm>
            <a:custGeom>
              <a:avLst/>
              <a:gdLst>
                <a:gd name="T0" fmla="*/ 35 w 38"/>
                <a:gd name="T1" fmla="*/ 0 h 58"/>
                <a:gd name="T2" fmla="*/ 0 w 38"/>
                <a:gd name="T3" fmla="*/ 44 h 58"/>
                <a:gd name="T4" fmla="*/ 38 w 38"/>
                <a:gd name="T5" fmla="*/ 58 h 58"/>
                <a:gd name="T6" fmla="*/ 35 w 38"/>
                <a:gd name="T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58">
                  <a:moveTo>
                    <a:pt x="35" y="0"/>
                  </a:moveTo>
                  <a:lnTo>
                    <a:pt x="0" y="44"/>
                  </a:lnTo>
                  <a:lnTo>
                    <a:pt x="38" y="58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30"/>
            <p:cNvSpPr>
              <a:spLocks/>
            </p:cNvSpPr>
            <p:nvPr/>
          </p:nvSpPr>
          <p:spPr bwMode="auto">
            <a:xfrm>
              <a:off x="8537575" y="1352550"/>
              <a:ext cx="17463" cy="41275"/>
            </a:xfrm>
            <a:custGeom>
              <a:avLst/>
              <a:gdLst>
                <a:gd name="T0" fmla="*/ 23 w 35"/>
                <a:gd name="T1" fmla="*/ 0 h 77"/>
                <a:gd name="T2" fmla="*/ 0 w 35"/>
                <a:gd name="T3" fmla="*/ 39 h 77"/>
                <a:gd name="T4" fmla="*/ 2 w 35"/>
                <a:gd name="T5" fmla="*/ 77 h 77"/>
                <a:gd name="T6" fmla="*/ 35 w 35"/>
                <a:gd name="T7" fmla="*/ 63 h 77"/>
                <a:gd name="T8" fmla="*/ 23 w 35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77">
                  <a:moveTo>
                    <a:pt x="23" y="0"/>
                  </a:moveTo>
                  <a:lnTo>
                    <a:pt x="0" y="39"/>
                  </a:lnTo>
                  <a:lnTo>
                    <a:pt x="2" y="77"/>
                  </a:lnTo>
                  <a:lnTo>
                    <a:pt x="35" y="63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31"/>
            <p:cNvSpPr>
              <a:spLocks/>
            </p:cNvSpPr>
            <p:nvPr/>
          </p:nvSpPr>
          <p:spPr bwMode="auto">
            <a:xfrm>
              <a:off x="8148638" y="877888"/>
              <a:ext cx="68263" cy="47625"/>
            </a:xfrm>
            <a:custGeom>
              <a:avLst/>
              <a:gdLst>
                <a:gd name="T0" fmla="*/ 50 w 129"/>
                <a:gd name="T1" fmla="*/ 0 h 89"/>
                <a:gd name="T2" fmla="*/ 10 w 129"/>
                <a:gd name="T3" fmla="*/ 26 h 89"/>
                <a:gd name="T4" fmla="*/ 0 w 129"/>
                <a:gd name="T5" fmla="*/ 60 h 89"/>
                <a:gd name="T6" fmla="*/ 19 w 129"/>
                <a:gd name="T7" fmla="*/ 82 h 89"/>
                <a:gd name="T8" fmla="*/ 62 w 129"/>
                <a:gd name="T9" fmla="*/ 67 h 89"/>
                <a:gd name="T10" fmla="*/ 105 w 129"/>
                <a:gd name="T11" fmla="*/ 82 h 89"/>
                <a:gd name="T12" fmla="*/ 129 w 129"/>
                <a:gd name="T13" fmla="*/ 89 h 89"/>
                <a:gd name="T14" fmla="*/ 126 w 129"/>
                <a:gd name="T15" fmla="*/ 10 h 89"/>
                <a:gd name="T16" fmla="*/ 50 w 129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89">
                  <a:moveTo>
                    <a:pt x="50" y="0"/>
                  </a:moveTo>
                  <a:lnTo>
                    <a:pt x="10" y="26"/>
                  </a:lnTo>
                  <a:lnTo>
                    <a:pt x="0" y="60"/>
                  </a:lnTo>
                  <a:lnTo>
                    <a:pt x="19" y="82"/>
                  </a:lnTo>
                  <a:lnTo>
                    <a:pt x="62" y="67"/>
                  </a:lnTo>
                  <a:lnTo>
                    <a:pt x="105" y="82"/>
                  </a:lnTo>
                  <a:lnTo>
                    <a:pt x="129" y="89"/>
                  </a:lnTo>
                  <a:lnTo>
                    <a:pt x="126" y="10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32"/>
            <p:cNvSpPr>
              <a:spLocks/>
            </p:cNvSpPr>
            <p:nvPr/>
          </p:nvSpPr>
          <p:spPr bwMode="auto">
            <a:xfrm>
              <a:off x="815975" y="1014413"/>
              <a:ext cx="52388" cy="58738"/>
            </a:xfrm>
            <a:custGeom>
              <a:avLst/>
              <a:gdLst>
                <a:gd name="T0" fmla="*/ 0 w 98"/>
                <a:gd name="T1" fmla="*/ 0 h 110"/>
                <a:gd name="T2" fmla="*/ 60 w 98"/>
                <a:gd name="T3" fmla="*/ 110 h 110"/>
                <a:gd name="T4" fmla="*/ 98 w 98"/>
                <a:gd name="T5" fmla="*/ 101 h 110"/>
                <a:gd name="T6" fmla="*/ 98 w 98"/>
                <a:gd name="T7" fmla="*/ 63 h 110"/>
                <a:gd name="T8" fmla="*/ 0 w 98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10">
                  <a:moveTo>
                    <a:pt x="0" y="0"/>
                  </a:moveTo>
                  <a:lnTo>
                    <a:pt x="60" y="110"/>
                  </a:lnTo>
                  <a:lnTo>
                    <a:pt x="98" y="101"/>
                  </a:lnTo>
                  <a:lnTo>
                    <a:pt x="98" y="6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33"/>
            <p:cNvSpPr>
              <a:spLocks/>
            </p:cNvSpPr>
            <p:nvPr/>
          </p:nvSpPr>
          <p:spPr bwMode="auto">
            <a:xfrm>
              <a:off x="8067675" y="533400"/>
              <a:ext cx="725488" cy="779463"/>
            </a:xfrm>
            <a:custGeom>
              <a:avLst/>
              <a:gdLst>
                <a:gd name="T0" fmla="*/ 241 w 1372"/>
                <a:gd name="T1" fmla="*/ 294 h 1473"/>
                <a:gd name="T2" fmla="*/ 169 w 1372"/>
                <a:gd name="T3" fmla="*/ 423 h 1473"/>
                <a:gd name="T4" fmla="*/ 307 w 1372"/>
                <a:gd name="T5" fmla="*/ 511 h 1473"/>
                <a:gd name="T6" fmla="*/ 463 w 1372"/>
                <a:gd name="T7" fmla="*/ 381 h 1473"/>
                <a:gd name="T8" fmla="*/ 557 w 1372"/>
                <a:gd name="T9" fmla="*/ 538 h 1473"/>
                <a:gd name="T10" fmla="*/ 459 w 1372"/>
                <a:gd name="T11" fmla="*/ 558 h 1473"/>
                <a:gd name="T12" fmla="*/ 420 w 1372"/>
                <a:gd name="T13" fmla="*/ 659 h 1473"/>
                <a:gd name="T14" fmla="*/ 637 w 1372"/>
                <a:gd name="T15" fmla="*/ 954 h 1473"/>
                <a:gd name="T16" fmla="*/ 768 w 1372"/>
                <a:gd name="T17" fmla="*/ 976 h 1473"/>
                <a:gd name="T18" fmla="*/ 957 w 1372"/>
                <a:gd name="T19" fmla="*/ 1013 h 1473"/>
                <a:gd name="T20" fmla="*/ 980 w 1372"/>
                <a:gd name="T21" fmla="*/ 944 h 1473"/>
                <a:gd name="T22" fmla="*/ 1046 w 1372"/>
                <a:gd name="T23" fmla="*/ 969 h 1473"/>
                <a:gd name="T24" fmla="*/ 1058 w 1372"/>
                <a:gd name="T25" fmla="*/ 1257 h 1473"/>
                <a:gd name="T26" fmla="*/ 937 w 1372"/>
                <a:gd name="T27" fmla="*/ 1460 h 1473"/>
                <a:gd name="T28" fmla="*/ 995 w 1372"/>
                <a:gd name="T29" fmla="*/ 1473 h 1473"/>
                <a:gd name="T30" fmla="*/ 1150 w 1372"/>
                <a:gd name="T31" fmla="*/ 1149 h 1473"/>
                <a:gd name="T32" fmla="*/ 1196 w 1372"/>
                <a:gd name="T33" fmla="*/ 907 h 1473"/>
                <a:gd name="T34" fmla="*/ 1101 w 1372"/>
                <a:gd name="T35" fmla="*/ 862 h 1473"/>
                <a:gd name="T36" fmla="*/ 1086 w 1372"/>
                <a:gd name="T37" fmla="*/ 536 h 1473"/>
                <a:gd name="T38" fmla="*/ 1159 w 1372"/>
                <a:gd name="T39" fmla="*/ 550 h 1473"/>
                <a:gd name="T40" fmla="*/ 1159 w 1372"/>
                <a:gd name="T41" fmla="*/ 746 h 1473"/>
                <a:gd name="T42" fmla="*/ 1238 w 1372"/>
                <a:gd name="T43" fmla="*/ 816 h 1473"/>
                <a:gd name="T44" fmla="*/ 1285 w 1372"/>
                <a:gd name="T45" fmla="*/ 646 h 1473"/>
                <a:gd name="T46" fmla="*/ 1247 w 1372"/>
                <a:gd name="T47" fmla="*/ 545 h 1473"/>
                <a:gd name="T48" fmla="*/ 1360 w 1372"/>
                <a:gd name="T49" fmla="*/ 599 h 1473"/>
                <a:gd name="T50" fmla="*/ 1372 w 1372"/>
                <a:gd name="T51" fmla="*/ 0 h 1473"/>
                <a:gd name="T52" fmla="*/ 75 w 1372"/>
                <a:gd name="T53" fmla="*/ 2 h 1473"/>
                <a:gd name="T54" fmla="*/ 0 w 1372"/>
                <a:gd name="T55" fmla="*/ 60 h 1473"/>
                <a:gd name="T56" fmla="*/ 10 w 1372"/>
                <a:gd name="T57" fmla="*/ 176 h 1473"/>
                <a:gd name="T58" fmla="*/ 240 w 1372"/>
                <a:gd name="T59" fmla="*/ 207 h 1473"/>
                <a:gd name="T60" fmla="*/ 417 w 1372"/>
                <a:gd name="T61" fmla="*/ 166 h 1473"/>
                <a:gd name="T62" fmla="*/ 353 w 1372"/>
                <a:gd name="T63" fmla="*/ 285 h 1473"/>
                <a:gd name="T64" fmla="*/ 241 w 1372"/>
                <a:gd name="T65" fmla="*/ 294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2" h="1473">
                  <a:moveTo>
                    <a:pt x="241" y="294"/>
                  </a:moveTo>
                  <a:lnTo>
                    <a:pt x="169" y="423"/>
                  </a:lnTo>
                  <a:lnTo>
                    <a:pt x="307" y="511"/>
                  </a:lnTo>
                  <a:lnTo>
                    <a:pt x="463" y="381"/>
                  </a:lnTo>
                  <a:lnTo>
                    <a:pt x="557" y="538"/>
                  </a:lnTo>
                  <a:lnTo>
                    <a:pt x="459" y="558"/>
                  </a:lnTo>
                  <a:lnTo>
                    <a:pt x="420" y="659"/>
                  </a:lnTo>
                  <a:lnTo>
                    <a:pt x="637" y="954"/>
                  </a:lnTo>
                  <a:lnTo>
                    <a:pt x="768" y="976"/>
                  </a:lnTo>
                  <a:lnTo>
                    <a:pt x="957" y="1013"/>
                  </a:lnTo>
                  <a:lnTo>
                    <a:pt x="980" y="944"/>
                  </a:lnTo>
                  <a:lnTo>
                    <a:pt x="1046" y="969"/>
                  </a:lnTo>
                  <a:lnTo>
                    <a:pt x="1058" y="1257"/>
                  </a:lnTo>
                  <a:lnTo>
                    <a:pt x="937" y="1460"/>
                  </a:lnTo>
                  <a:lnTo>
                    <a:pt x="995" y="1473"/>
                  </a:lnTo>
                  <a:lnTo>
                    <a:pt x="1150" y="1149"/>
                  </a:lnTo>
                  <a:lnTo>
                    <a:pt x="1196" y="907"/>
                  </a:lnTo>
                  <a:lnTo>
                    <a:pt x="1101" y="862"/>
                  </a:lnTo>
                  <a:lnTo>
                    <a:pt x="1086" y="536"/>
                  </a:lnTo>
                  <a:lnTo>
                    <a:pt x="1159" y="550"/>
                  </a:lnTo>
                  <a:lnTo>
                    <a:pt x="1159" y="746"/>
                  </a:lnTo>
                  <a:lnTo>
                    <a:pt x="1238" y="816"/>
                  </a:lnTo>
                  <a:lnTo>
                    <a:pt x="1285" y="646"/>
                  </a:lnTo>
                  <a:lnTo>
                    <a:pt x="1247" y="545"/>
                  </a:lnTo>
                  <a:lnTo>
                    <a:pt x="1360" y="599"/>
                  </a:lnTo>
                  <a:lnTo>
                    <a:pt x="1372" y="0"/>
                  </a:lnTo>
                  <a:lnTo>
                    <a:pt x="75" y="2"/>
                  </a:lnTo>
                  <a:lnTo>
                    <a:pt x="0" y="60"/>
                  </a:lnTo>
                  <a:lnTo>
                    <a:pt x="10" y="176"/>
                  </a:lnTo>
                  <a:lnTo>
                    <a:pt x="240" y="207"/>
                  </a:lnTo>
                  <a:lnTo>
                    <a:pt x="417" y="166"/>
                  </a:lnTo>
                  <a:lnTo>
                    <a:pt x="353" y="285"/>
                  </a:lnTo>
                  <a:lnTo>
                    <a:pt x="241" y="2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34"/>
            <p:cNvSpPr>
              <a:spLocks/>
            </p:cNvSpPr>
            <p:nvPr/>
          </p:nvSpPr>
          <p:spPr bwMode="auto">
            <a:xfrm>
              <a:off x="200025" y="533400"/>
              <a:ext cx="744538" cy="554038"/>
            </a:xfrm>
            <a:custGeom>
              <a:avLst/>
              <a:gdLst>
                <a:gd name="T0" fmla="*/ 0 w 1407"/>
                <a:gd name="T1" fmla="*/ 936 h 1046"/>
                <a:gd name="T2" fmla="*/ 240 w 1407"/>
                <a:gd name="T3" fmla="*/ 962 h 1046"/>
                <a:gd name="T4" fmla="*/ 280 w 1407"/>
                <a:gd name="T5" fmla="*/ 1046 h 1046"/>
                <a:gd name="T6" fmla="*/ 471 w 1407"/>
                <a:gd name="T7" fmla="*/ 934 h 1046"/>
                <a:gd name="T8" fmla="*/ 791 w 1407"/>
                <a:gd name="T9" fmla="*/ 889 h 1046"/>
                <a:gd name="T10" fmla="*/ 813 w 1407"/>
                <a:gd name="T11" fmla="*/ 723 h 1046"/>
                <a:gd name="T12" fmla="*/ 973 w 1407"/>
                <a:gd name="T13" fmla="*/ 665 h 1046"/>
                <a:gd name="T14" fmla="*/ 1078 w 1407"/>
                <a:gd name="T15" fmla="*/ 566 h 1046"/>
                <a:gd name="T16" fmla="*/ 1078 w 1407"/>
                <a:gd name="T17" fmla="*/ 700 h 1046"/>
                <a:gd name="T18" fmla="*/ 1184 w 1407"/>
                <a:gd name="T19" fmla="*/ 847 h 1046"/>
                <a:gd name="T20" fmla="*/ 1407 w 1407"/>
                <a:gd name="T21" fmla="*/ 706 h 1046"/>
                <a:gd name="T22" fmla="*/ 1300 w 1407"/>
                <a:gd name="T23" fmla="*/ 585 h 1046"/>
                <a:gd name="T24" fmla="*/ 1166 w 1407"/>
                <a:gd name="T25" fmla="*/ 224 h 1046"/>
                <a:gd name="T26" fmla="*/ 1007 w 1407"/>
                <a:gd name="T27" fmla="*/ 41 h 1046"/>
                <a:gd name="T28" fmla="*/ 893 w 1407"/>
                <a:gd name="T29" fmla="*/ 31 h 1046"/>
                <a:gd name="T30" fmla="*/ 889 w 1407"/>
                <a:gd name="T31" fmla="*/ 130 h 1046"/>
                <a:gd name="T32" fmla="*/ 796 w 1407"/>
                <a:gd name="T33" fmla="*/ 177 h 1046"/>
                <a:gd name="T34" fmla="*/ 766 w 1407"/>
                <a:gd name="T35" fmla="*/ 119 h 1046"/>
                <a:gd name="T36" fmla="*/ 822 w 1407"/>
                <a:gd name="T37" fmla="*/ 0 h 1046"/>
                <a:gd name="T38" fmla="*/ 2 w 1407"/>
                <a:gd name="T39" fmla="*/ 2 h 1046"/>
                <a:gd name="T40" fmla="*/ 0 w 1407"/>
                <a:gd name="T41" fmla="*/ 936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07" h="1046">
                  <a:moveTo>
                    <a:pt x="0" y="936"/>
                  </a:moveTo>
                  <a:lnTo>
                    <a:pt x="240" y="962"/>
                  </a:lnTo>
                  <a:lnTo>
                    <a:pt x="280" y="1046"/>
                  </a:lnTo>
                  <a:lnTo>
                    <a:pt x="471" y="934"/>
                  </a:lnTo>
                  <a:lnTo>
                    <a:pt x="791" y="889"/>
                  </a:lnTo>
                  <a:lnTo>
                    <a:pt x="813" y="723"/>
                  </a:lnTo>
                  <a:lnTo>
                    <a:pt x="973" y="665"/>
                  </a:lnTo>
                  <a:lnTo>
                    <a:pt x="1078" y="566"/>
                  </a:lnTo>
                  <a:lnTo>
                    <a:pt x="1078" y="700"/>
                  </a:lnTo>
                  <a:lnTo>
                    <a:pt x="1184" y="847"/>
                  </a:lnTo>
                  <a:lnTo>
                    <a:pt x="1407" y="706"/>
                  </a:lnTo>
                  <a:lnTo>
                    <a:pt x="1300" y="585"/>
                  </a:lnTo>
                  <a:lnTo>
                    <a:pt x="1166" y="224"/>
                  </a:lnTo>
                  <a:lnTo>
                    <a:pt x="1007" y="41"/>
                  </a:lnTo>
                  <a:lnTo>
                    <a:pt x="893" y="31"/>
                  </a:lnTo>
                  <a:lnTo>
                    <a:pt x="889" y="130"/>
                  </a:lnTo>
                  <a:lnTo>
                    <a:pt x="796" y="177"/>
                  </a:lnTo>
                  <a:lnTo>
                    <a:pt x="766" y="119"/>
                  </a:lnTo>
                  <a:lnTo>
                    <a:pt x="822" y="0"/>
                  </a:lnTo>
                  <a:lnTo>
                    <a:pt x="2" y="2"/>
                  </a:lnTo>
                  <a:lnTo>
                    <a:pt x="0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35"/>
            <p:cNvSpPr>
              <a:spLocks/>
            </p:cNvSpPr>
            <p:nvPr/>
          </p:nvSpPr>
          <p:spPr bwMode="auto">
            <a:xfrm>
              <a:off x="865188" y="560388"/>
              <a:ext cx="76200" cy="55563"/>
            </a:xfrm>
            <a:custGeom>
              <a:avLst/>
              <a:gdLst>
                <a:gd name="T0" fmla="*/ 66 w 142"/>
                <a:gd name="T1" fmla="*/ 0 h 104"/>
                <a:gd name="T2" fmla="*/ 0 w 142"/>
                <a:gd name="T3" fmla="*/ 60 h 104"/>
                <a:gd name="T4" fmla="*/ 20 w 142"/>
                <a:gd name="T5" fmla="*/ 104 h 104"/>
                <a:gd name="T6" fmla="*/ 55 w 142"/>
                <a:gd name="T7" fmla="*/ 80 h 104"/>
                <a:gd name="T8" fmla="*/ 76 w 142"/>
                <a:gd name="T9" fmla="*/ 102 h 104"/>
                <a:gd name="T10" fmla="*/ 142 w 142"/>
                <a:gd name="T11" fmla="*/ 78 h 104"/>
                <a:gd name="T12" fmla="*/ 140 w 142"/>
                <a:gd name="T13" fmla="*/ 39 h 104"/>
                <a:gd name="T14" fmla="*/ 66 w 142"/>
                <a:gd name="T1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04">
                  <a:moveTo>
                    <a:pt x="66" y="0"/>
                  </a:moveTo>
                  <a:lnTo>
                    <a:pt x="0" y="60"/>
                  </a:lnTo>
                  <a:lnTo>
                    <a:pt x="20" y="104"/>
                  </a:lnTo>
                  <a:lnTo>
                    <a:pt x="55" y="80"/>
                  </a:lnTo>
                  <a:lnTo>
                    <a:pt x="76" y="102"/>
                  </a:lnTo>
                  <a:lnTo>
                    <a:pt x="142" y="78"/>
                  </a:lnTo>
                  <a:lnTo>
                    <a:pt x="140" y="39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36"/>
            <p:cNvSpPr>
              <a:spLocks/>
            </p:cNvSpPr>
            <p:nvPr/>
          </p:nvSpPr>
          <p:spPr bwMode="auto">
            <a:xfrm>
              <a:off x="638175" y="1530350"/>
              <a:ext cx="19050" cy="26988"/>
            </a:xfrm>
            <a:custGeom>
              <a:avLst/>
              <a:gdLst>
                <a:gd name="T0" fmla="*/ 3 w 38"/>
                <a:gd name="T1" fmla="*/ 0 h 52"/>
                <a:gd name="T2" fmla="*/ 0 w 38"/>
                <a:gd name="T3" fmla="*/ 52 h 52"/>
                <a:gd name="T4" fmla="*/ 38 w 38"/>
                <a:gd name="T5" fmla="*/ 43 h 52"/>
                <a:gd name="T6" fmla="*/ 38 w 38"/>
                <a:gd name="T7" fmla="*/ 20 h 52"/>
                <a:gd name="T8" fmla="*/ 3 w 38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2">
                  <a:moveTo>
                    <a:pt x="3" y="0"/>
                  </a:moveTo>
                  <a:lnTo>
                    <a:pt x="0" y="52"/>
                  </a:lnTo>
                  <a:lnTo>
                    <a:pt x="38" y="43"/>
                  </a:lnTo>
                  <a:lnTo>
                    <a:pt x="38" y="2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37"/>
            <p:cNvSpPr>
              <a:spLocks/>
            </p:cNvSpPr>
            <p:nvPr/>
          </p:nvSpPr>
          <p:spPr bwMode="auto">
            <a:xfrm>
              <a:off x="569913" y="1541463"/>
              <a:ext cx="52388" cy="41275"/>
            </a:xfrm>
            <a:custGeom>
              <a:avLst/>
              <a:gdLst>
                <a:gd name="T0" fmla="*/ 74 w 98"/>
                <a:gd name="T1" fmla="*/ 0 h 78"/>
                <a:gd name="T2" fmla="*/ 0 w 98"/>
                <a:gd name="T3" fmla="*/ 37 h 78"/>
                <a:gd name="T4" fmla="*/ 12 w 98"/>
                <a:gd name="T5" fmla="*/ 78 h 78"/>
                <a:gd name="T6" fmla="*/ 41 w 98"/>
                <a:gd name="T7" fmla="*/ 54 h 78"/>
                <a:gd name="T8" fmla="*/ 98 w 98"/>
                <a:gd name="T9" fmla="*/ 29 h 78"/>
                <a:gd name="T10" fmla="*/ 74 w 98"/>
                <a:gd name="T1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78">
                  <a:moveTo>
                    <a:pt x="74" y="0"/>
                  </a:moveTo>
                  <a:lnTo>
                    <a:pt x="0" y="37"/>
                  </a:lnTo>
                  <a:lnTo>
                    <a:pt x="12" y="78"/>
                  </a:lnTo>
                  <a:lnTo>
                    <a:pt x="41" y="54"/>
                  </a:lnTo>
                  <a:lnTo>
                    <a:pt x="98" y="29"/>
                  </a:lnTo>
                  <a:lnTo>
                    <a:pt x="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38"/>
            <p:cNvSpPr>
              <a:spLocks/>
            </p:cNvSpPr>
            <p:nvPr/>
          </p:nvSpPr>
          <p:spPr bwMode="auto">
            <a:xfrm>
              <a:off x="414338" y="1562100"/>
              <a:ext cx="31750" cy="34925"/>
            </a:xfrm>
            <a:custGeom>
              <a:avLst/>
              <a:gdLst>
                <a:gd name="T0" fmla="*/ 60 w 60"/>
                <a:gd name="T1" fmla="*/ 11 h 66"/>
                <a:gd name="T2" fmla="*/ 9 w 60"/>
                <a:gd name="T3" fmla="*/ 0 h 66"/>
                <a:gd name="T4" fmla="*/ 0 w 60"/>
                <a:gd name="T5" fmla="*/ 23 h 66"/>
                <a:gd name="T6" fmla="*/ 6 w 60"/>
                <a:gd name="T7" fmla="*/ 66 h 66"/>
                <a:gd name="T8" fmla="*/ 60 w 60"/>
                <a:gd name="T9" fmla="*/ 1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6">
                  <a:moveTo>
                    <a:pt x="60" y="11"/>
                  </a:moveTo>
                  <a:lnTo>
                    <a:pt x="9" y="0"/>
                  </a:lnTo>
                  <a:lnTo>
                    <a:pt x="0" y="23"/>
                  </a:lnTo>
                  <a:lnTo>
                    <a:pt x="6" y="66"/>
                  </a:lnTo>
                  <a:lnTo>
                    <a:pt x="6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39"/>
            <p:cNvSpPr>
              <a:spLocks/>
            </p:cNvSpPr>
            <p:nvPr/>
          </p:nvSpPr>
          <p:spPr bwMode="auto">
            <a:xfrm>
              <a:off x="354013" y="1555750"/>
              <a:ext cx="34925" cy="33338"/>
            </a:xfrm>
            <a:custGeom>
              <a:avLst/>
              <a:gdLst>
                <a:gd name="T0" fmla="*/ 66 w 66"/>
                <a:gd name="T1" fmla="*/ 20 h 63"/>
                <a:gd name="T2" fmla="*/ 18 w 66"/>
                <a:gd name="T3" fmla="*/ 0 h 63"/>
                <a:gd name="T4" fmla="*/ 0 w 66"/>
                <a:gd name="T5" fmla="*/ 31 h 63"/>
                <a:gd name="T6" fmla="*/ 32 w 66"/>
                <a:gd name="T7" fmla="*/ 63 h 63"/>
                <a:gd name="T8" fmla="*/ 66 w 66"/>
                <a:gd name="T9" fmla="*/ 2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3">
                  <a:moveTo>
                    <a:pt x="66" y="20"/>
                  </a:moveTo>
                  <a:lnTo>
                    <a:pt x="18" y="0"/>
                  </a:lnTo>
                  <a:lnTo>
                    <a:pt x="0" y="31"/>
                  </a:lnTo>
                  <a:lnTo>
                    <a:pt x="32" y="63"/>
                  </a:lnTo>
                  <a:lnTo>
                    <a:pt x="66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40"/>
            <p:cNvSpPr>
              <a:spLocks/>
            </p:cNvSpPr>
            <p:nvPr/>
          </p:nvSpPr>
          <p:spPr bwMode="auto">
            <a:xfrm>
              <a:off x="276225" y="1525588"/>
              <a:ext cx="23813" cy="36513"/>
            </a:xfrm>
            <a:custGeom>
              <a:avLst/>
              <a:gdLst>
                <a:gd name="T0" fmla="*/ 46 w 46"/>
                <a:gd name="T1" fmla="*/ 31 h 68"/>
                <a:gd name="T2" fmla="*/ 23 w 46"/>
                <a:gd name="T3" fmla="*/ 0 h 68"/>
                <a:gd name="T4" fmla="*/ 0 w 46"/>
                <a:gd name="T5" fmla="*/ 8 h 68"/>
                <a:gd name="T6" fmla="*/ 0 w 46"/>
                <a:gd name="T7" fmla="*/ 51 h 68"/>
                <a:gd name="T8" fmla="*/ 27 w 46"/>
                <a:gd name="T9" fmla="*/ 68 h 68"/>
                <a:gd name="T10" fmla="*/ 46 w 46"/>
                <a:gd name="T11" fmla="*/ 3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68">
                  <a:moveTo>
                    <a:pt x="46" y="31"/>
                  </a:moveTo>
                  <a:lnTo>
                    <a:pt x="23" y="0"/>
                  </a:lnTo>
                  <a:lnTo>
                    <a:pt x="0" y="8"/>
                  </a:lnTo>
                  <a:lnTo>
                    <a:pt x="0" y="51"/>
                  </a:lnTo>
                  <a:lnTo>
                    <a:pt x="27" y="68"/>
                  </a:lnTo>
                  <a:lnTo>
                    <a:pt x="4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41"/>
            <p:cNvSpPr>
              <a:spLocks/>
            </p:cNvSpPr>
            <p:nvPr/>
          </p:nvSpPr>
          <p:spPr bwMode="auto">
            <a:xfrm>
              <a:off x="203200" y="1433513"/>
              <a:ext cx="14288" cy="23813"/>
            </a:xfrm>
            <a:custGeom>
              <a:avLst/>
              <a:gdLst>
                <a:gd name="T0" fmla="*/ 0 w 28"/>
                <a:gd name="T1" fmla="*/ 0 h 43"/>
                <a:gd name="T2" fmla="*/ 28 w 28"/>
                <a:gd name="T3" fmla="*/ 21 h 43"/>
                <a:gd name="T4" fmla="*/ 20 w 28"/>
                <a:gd name="T5" fmla="*/ 43 h 43"/>
                <a:gd name="T6" fmla="*/ 0 w 28"/>
                <a:gd name="T7" fmla="*/ 43 h 43"/>
                <a:gd name="T8" fmla="*/ 0 w 28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3">
                  <a:moveTo>
                    <a:pt x="0" y="0"/>
                  </a:moveTo>
                  <a:lnTo>
                    <a:pt x="28" y="21"/>
                  </a:lnTo>
                  <a:lnTo>
                    <a:pt x="20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42"/>
            <p:cNvSpPr>
              <a:spLocks/>
            </p:cNvSpPr>
            <p:nvPr/>
          </p:nvSpPr>
          <p:spPr bwMode="auto">
            <a:xfrm>
              <a:off x="5832475" y="5057775"/>
              <a:ext cx="65088" cy="52388"/>
            </a:xfrm>
            <a:custGeom>
              <a:avLst/>
              <a:gdLst>
                <a:gd name="T0" fmla="*/ 2 w 124"/>
                <a:gd name="T1" fmla="*/ 0 h 98"/>
                <a:gd name="T2" fmla="*/ 0 w 124"/>
                <a:gd name="T3" fmla="*/ 75 h 98"/>
                <a:gd name="T4" fmla="*/ 101 w 124"/>
                <a:gd name="T5" fmla="*/ 98 h 98"/>
                <a:gd name="T6" fmla="*/ 124 w 124"/>
                <a:gd name="T7" fmla="*/ 38 h 98"/>
                <a:gd name="T8" fmla="*/ 88 w 124"/>
                <a:gd name="T9" fmla="*/ 48 h 98"/>
                <a:gd name="T10" fmla="*/ 41 w 124"/>
                <a:gd name="T11" fmla="*/ 58 h 98"/>
                <a:gd name="T12" fmla="*/ 28 w 124"/>
                <a:gd name="T13" fmla="*/ 4 h 98"/>
                <a:gd name="T14" fmla="*/ 2 w 124"/>
                <a:gd name="T1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98">
                  <a:moveTo>
                    <a:pt x="2" y="0"/>
                  </a:moveTo>
                  <a:lnTo>
                    <a:pt x="0" y="75"/>
                  </a:lnTo>
                  <a:lnTo>
                    <a:pt x="101" y="98"/>
                  </a:lnTo>
                  <a:lnTo>
                    <a:pt x="124" y="38"/>
                  </a:lnTo>
                  <a:lnTo>
                    <a:pt x="88" y="48"/>
                  </a:lnTo>
                  <a:lnTo>
                    <a:pt x="41" y="58"/>
                  </a:lnTo>
                  <a:lnTo>
                    <a:pt x="28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43"/>
            <p:cNvSpPr>
              <a:spLocks/>
            </p:cNvSpPr>
            <p:nvPr/>
          </p:nvSpPr>
          <p:spPr bwMode="auto">
            <a:xfrm>
              <a:off x="5730875" y="4146550"/>
              <a:ext cx="31750" cy="38100"/>
            </a:xfrm>
            <a:custGeom>
              <a:avLst/>
              <a:gdLst>
                <a:gd name="T0" fmla="*/ 26 w 60"/>
                <a:gd name="T1" fmla="*/ 0 h 70"/>
                <a:gd name="T2" fmla="*/ 0 w 60"/>
                <a:gd name="T3" fmla="*/ 33 h 70"/>
                <a:gd name="T4" fmla="*/ 5 w 60"/>
                <a:gd name="T5" fmla="*/ 70 h 70"/>
                <a:gd name="T6" fmla="*/ 60 w 60"/>
                <a:gd name="T7" fmla="*/ 25 h 70"/>
                <a:gd name="T8" fmla="*/ 26 w 60"/>
                <a:gd name="T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0">
                  <a:moveTo>
                    <a:pt x="26" y="0"/>
                  </a:moveTo>
                  <a:lnTo>
                    <a:pt x="0" y="33"/>
                  </a:lnTo>
                  <a:lnTo>
                    <a:pt x="5" y="70"/>
                  </a:lnTo>
                  <a:lnTo>
                    <a:pt x="60" y="25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44"/>
            <p:cNvSpPr>
              <a:spLocks/>
            </p:cNvSpPr>
            <p:nvPr/>
          </p:nvSpPr>
          <p:spPr bwMode="auto">
            <a:xfrm>
              <a:off x="5672138" y="4178300"/>
              <a:ext cx="33338" cy="20638"/>
            </a:xfrm>
            <a:custGeom>
              <a:avLst/>
              <a:gdLst>
                <a:gd name="T0" fmla="*/ 42 w 65"/>
                <a:gd name="T1" fmla="*/ 0 h 41"/>
                <a:gd name="T2" fmla="*/ 2 w 65"/>
                <a:gd name="T3" fmla="*/ 2 h 41"/>
                <a:gd name="T4" fmla="*/ 0 w 65"/>
                <a:gd name="T5" fmla="*/ 36 h 41"/>
                <a:gd name="T6" fmla="*/ 26 w 65"/>
                <a:gd name="T7" fmla="*/ 41 h 41"/>
                <a:gd name="T8" fmla="*/ 65 w 65"/>
                <a:gd name="T9" fmla="*/ 23 h 41"/>
                <a:gd name="T10" fmla="*/ 42 w 65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41">
                  <a:moveTo>
                    <a:pt x="42" y="0"/>
                  </a:moveTo>
                  <a:lnTo>
                    <a:pt x="2" y="2"/>
                  </a:lnTo>
                  <a:lnTo>
                    <a:pt x="0" y="36"/>
                  </a:lnTo>
                  <a:lnTo>
                    <a:pt x="26" y="41"/>
                  </a:lnTo>
                  <a:lnTo>
                    <a:pt x="65" y="23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145"/>
            <p:cNvSpPr>
              <a:spLocks/>
            </p:cNvSpPr>
            <p:nvPr/>
          </p:nvSpPr>
          <p:spPr bwMode="auto">
            <a:xfrm>
              <a:off x="5389563" y="3906838"/>
              <a:ext cx="204788" cy="377825"/>
            </a:xfrm>
            <a:custGeom>
              <a:avLst/>
              <a:gdLst>
                <a:gd name="T0" fmla="*/ 315 w 386"/>
                <a:gd name="T1" fmla="*/ 6 h 713"/>
                <a:gd name="T2" fmla="*/ 278 w 386"/>
                <a:gd name="T3" fmla="*/ 92 h 713"/>
                <a:gd name="T4" fmla="*/ 217 w 386"/>
                <a:gd name="T5" fmla="*/ 203 h 713"/>
                <a:gd name="T6" fmla="*/ 107 w 386"/>
                <a:gd name="T7" fmla="*/ 210 h 713"/>
                <a:gd name="T8" fmla="*/ 60 w 386"/>
                <a:gd name="T9" fmla="*/ 266 h 713"/>
                <a:gd name="T10" fmla="*/ 67 w 386"/>
                <a:gd name="T11" fmla="*/ 435 h 713"/>
                <a:gd name="T12" fmla="*/ 0 w 386"/>
                <a:gd name="T13" fmla="*/ 513 h 713"/>
                <a:gd name="T14" fmla="*/ 7 w 386"/>
                <a:gd name="T15" fmla="*/ 647 h 713"/>
                <a:gd name="T16" fmla="*/ 65 w 386"/>
                <a:gd name="T17" fmla="*/ 713 h 713"/>
                <a:gd name="T18" fmla="*/ 133 w 386"/>
                <a:gd name="T19" fmla="*/ 705 h 713"/>
                <a:gd name="T20" fmla="*/ 201 w 386"/>
                <a:gd name="T21" fmla="*/ 655 h 713"/>
                <a:gd name="T22" fmla="*/ 185 w 386"/>
                <a:gd name="T23" fmla="*/ 576 h 713"/>
                <a:gd name="T24" fmla="*/ 341 w 386"/>
                <a:gd name="T25" fmla="*/ 305 h 713"/>
                <a:gd name="T26" fmla="*/ 310 w 386"/>
                <a:gd name="T27" fmla="*/ 271 h 713"/>
                <a:gd name="T28" fmla="*/ 341 w 386"/>
                <a:gd name="T29" fmla="*/ 205 h 713"/>
                <a:gd name="T30" fmla="*/ 376 w 386"/>
                <a:gd name="T31" fmla="*/ 216 h 713"/>
                <a:gd name="T32" fmla="*/ 386 w 386"/>
                <a:gd name="T33" fmla="*/ 190 h 713"/>
                <a:gd name="T34" fmla="*/ 355 w 386"/>
                <a:gd name="T35" fmla="*/ 56 h 713"/>
                <a:gd name="T36" fmla="*/ 336 w 386"/>
                <a:gd name="T37" fmla="*/ 0 h 713"/>
                <a:gd name="T38" fmla="*/ 315 w 386"/>
                <a:gd name="T39" fmla="*/ 6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6" h="713">
                  <a:moveTo>
                    <a:pt x="315" y="6"/>
                  </a:moveTo>
                  <a:lnTo>
                    <a:pt x="278" y="92"/>
                  </a:lnTo>
                  <a:lnTo>
                    <a:pt x="217" y="203"/>
                  </a:lnTo>
                  <a:lnTo>
                    <a:pt x="107" y="210"/>
                  </a:lnTo>
                  <a:lnTo>
                    <a:pt x="60" y="266"/>
                  </a:lnTo>
                  <a:lnTo>
                    <a:pt x="67" y="435"/>
                  </a:lnTo>
                  <a:lnTo>
                    <a:pt x="0" y="513"/>
                  </a:lnTo>
                  <a:lnTo>
                    <a:pt x="7" y="647"/>
                  </a:lnTo>
                  <a:lnTo>
                    <a:pt x="65" y="713"/>
                  </a:lnTo>
                  <a:lnTo>
                    <a:pt x="133" y="705"/>
                  </a:lnTo>
                  <a:lnTo>
                    <a:pt x="201" y="655"/>
                  </a:lnTo>
                  <a:lnTo>
                    <a:pt x="185" y="576"/>
                  </a:lnTo>
                  <a:lnTo>
                    <a:pt x="341" y="305"/>
                  </a:lnTo>
                  <a:lnTo>
                    <a:pt x="310" y="271"/>
                  </a:lnTo>
                  <a:lnTo>
                    <a:pt x="341" y="205"/>
                  </a:lnTo>
                  <a:lnTo>
                    <a:pt x="376" y="216"/>
                  </a:lnTo>
                  <a:lnTo>
                    <a:pt x="386" y="190"/>
                  </a:lnTo>
                  <a:lnTo>
                    <a:pt x="355" y="56"/>
                  </a:lnTo>
                  <a:lnTo>
                    <a:pt x="336" y="0"/>
                  </a:lnTo>
                  <a:lnTo>
                    <a:pt x="315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146"/>
            <p:cNvSpPr>
              <a:spLocks/>
            </p:cNvSpPr>
            <p:nvPr/>
          </p:nvSpPr>
          <p:spPr bwMode="auto">
            <a:xfrm>
              <a:off x="5424488" y="3894138"/>
              <a:ext cx="28575" cy="17463"/>
            </a:xfrm>
            <a:custGeom>
              <a:avLst/>
              <a:gdLst>
                <a:gd name="T0" fmla="*/ 0 w 55"/>
                <a:gd name="T1" fmla="*/ 2 h 33"/>
                <a:gd name="T2" fmla="*/ 7 w 55"/>
                <a:gd name="T3" fmla="*/ 28 h 33"/>
                <a:gd name="T4" fmla="*/ 42 w 55"/>
                <a:gd name="T5" fmla="*/ 33 h 33"/>
                <a:gd name="T6" fmla="*/ 55 w 55"/>
                <a:gd name="T7" fmla="*/ 0 h 33"/>
                <a:gd name="T8" fmla="*/ 0 w 55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3">
                  <a:moveTo>
                    <a:pt x="0" y="2"/>
                  </a:moveTo>
                  <a:lnTo>
                    <a:pt x="7" y="28"/>
                  </a:lnTo>
                  <a:lnTo>
                    <a:pt x="42" y="33"/>
                  </a:lnTo>
                  <a:lnTo>
                    <a:pt x="55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47"/>
            <p:cNvSpPr>
              <a:spLocks/>
            </p:cNvSpPr>
            <p:nvPr/>
          </p:nvSpPr>
          <p:spPr bwMode="auto">
            <a:xfrm>
              <a:off x="5449888" y="3917950"/>
              <a:ext cx="23813" cy="20638"/>
            </a:xfrm>
            <a:custGeom>
              <a:avLst/>
              <a:gdLst>
                <a:gd name="T0" fmla="*/ 0 w 45"/>
                <a:gd name="T1" fmla="*/ 8 h 37"/>
                <a:gd name="T2" fmla="*/ 13 w 45"/>
                <a:gd name="T3" fmla="*/ 37 h 37"/>
                <a:gd name="T4" fmla="*/ 35 w 45"/>
                <a:gd name="T5" fmla="*/ 37 h 37"/>
                <a:gd name="T6" fmla="*/ 45 w 45"/>
                <a:gd name="T7" fmla="*/ 0 h 37"/>
                <a:gd name="T8" fmla="*/ 0 w 45"/>
                <a:gd name="T9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7">
                  <a:moveTo>
                    <a:pt x="0" y="8"/>
                  </a:moveTo>
                  <a:lnTo>
                    <a:pt x="13" y="37"/>
                  </a:lnTo>
                  <a:lnTo>
                    <a:pt x="35" y="37"/>
                  </a:lnTo>
                  <a:lnTo>
                    <a:pt x="45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48"/>
            <p:cNvSpPr>
              <a:spLocks/>
            </p:cNvSpPr>
            <p:nvPr/>
          </p:nvSpPr>
          <p:spPr bwMode="auto">
            <a:xfrm>
              <a:off x="5641975" y="3778250"/>
              <a:ext cx="26988" cy="23813"/>
            </a:xfrm>
            <a:custGeom>
              <a:avLst/>
              <a:gdLst>
                <a:gd name="T0" fmla="*/ 11 w 49"/>
                <a:gd name="T1" fmla="*/ 0 h 45"/>
                <a:gd name="T2" fmla="*/ 0 w 49"/>
                <a:gd name="T3" fmla="*/ 21 h 45"/>
                <a:gd name="T4" fmla="*/ 29 w 49"/>
                <a:gd name="T5" fmla="*/ 45 h 45"/>
                <a:gd name="T6" fmla="*/ 49 w 49"/>
                <a:gd name="T7" fmla="*/ 21 h 45"/>
                <a:gd name="T8" fmla="*/ 11 w 49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5">
                  <a:moveTo>
                    <a:pt x="11" y="0"/>
                  </a:moveTo>
                  <a:lnTo>
                    <a:pt x="0" y="21"/>
                  </a:lnTo>
                  <a:lnTo>
                    <a:pt x="29" y="45"/>
                  </a:lnTo>
                  <a:lnTo>
                    <a:pt x="49" y="21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49"/>
            <p:cNvSpPr>
              <a:spLocks/>
            </p:cNvSpPr>
            <p:nvPr/>
          </p:nvSpPr>
          <p:spPr bwMode="auto">
            <a:xfrm>
              <a:off x="5708650" y="3694113"/>
              <a:ext cx="28575" cy="31750"/>
            </a:xfrm>
            <a:custGeom>
              <a:avLst/>
              <a:gdLst>
                <a:gd name="T0" fmla="*/ 32 w 55"/>
                <a:gd name="T1" fmla="*/ 0 h 58"/>
                <a:gd name="T2" fmla="*/ 0 w 55"/>
                <a:gd name="T3" fmla="*/ 21 h 58"/>
                <a:gd name="T4" fmla="*/ 24 w 55"/>
                <a:gd name="T5" fmla="*/ 58 h 58"/>
                <a:gd name="T6" fmla="*/ 55 w 55"/>
                <a:gd name="T7" fmla="*/ 58 h 58"/>
                <a:gd name="T8" fmla="*/ 32 w 55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8">
                  <a:moveTo>
                    <a:pt x="32" y="0"/>
                  </a:moveTo>
                  <a:lnTo>
                    <a:pt x="0" y="21"/>
                  </a:lnTo>
                  <a:lnTo>
                    <a:pt x="24" y="58"/>
                  </a:lnTo>
                  <a:lnTo>
                    <a:pt x="55" y="58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50"/>
            <p:cNvSpPr>
              <a:spLocks/>
            </p:cNvSpPr>
            <p:nvPr/>
          </p:nvSpPr>
          <p:spPr bwMode="auto">
            <a:xfrm>
              <a:off x="5721350" y="3743325"/>
              <a:ext cx="23813" cy="28575"/>
            </a:xfrm>
            <a:custGeom>
              <a:avLst/>
              <a:gdLst>
                <a:gd name="T0" fmla="*/ 21 w 46"/>
                <a:gd name="T1" fmla="*/ 0 h 53"/>
                <a:gd name="T2" fmla="*/ 0 w 46"/>
                <a:gd name="T3" fmla="*/ 24 h 53"/>
                <a:gd name="T4" fmla="*/ 15 w 46"/>
                <a:gd name="T5" fmla="*/ 48 h 53"/>
                <a:gd name="T6" fmla="*/ 44 w 46"/>
                <a:gd name="T7" fmla="*/ 53 h 53"/>
                <a:gd name="T8" fmla="*/ 46 w 46"/>
                <a:gd name="T9" fmla="*/ 3 h 53"/>
                <a:gd name="T10" fmla="*/ 21 w 46"/>
                <a:gd name="T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53">
                  <a:moveTo>
                    <a:pt x="21" y="0"/>
                  </a:moveTo>
                  <a:lnTo>
                    <a:pt x="0" y="24"/>
                  </a:lnTo>
                  <a:lnTo>
                    <a:pt x="15" y="48"/>
                  </a:lnTo>
                  <a:lnTo>
                    <a:pt x="44" y="53"/>
                  </a:lnTo>
                  <a:lnTo>
                    <a:pt x="46" y="3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51"/>
            <p:cNvSpPr>
              <a:spLocks/>
            </p:cNvSpPr>
            <p:nvPr/>
          </p:nvSpPr>
          <p:spPr bwMode="auto">
            <a:xfrm>
              <a:off x="6137275" y="3438525"/>
              <a:ext cx="20638" cy="28575"/>
            </a:xfrm>
            <a:custGeom>
              <a:avLst/>
              <a:gdLst>
                <a:gd name="T0" fmla="*/ 0 w 39"/>
                <a:gd name="T1" fmla="*/ 0 h 55"/>
                <a:gd name="T2" fmla="*/ 5 w 39"/>
                <a:gd name="T3" fmla="*/ 44 h 55"/>
                <a:gd name="T4" fmla="*/ 34 w 39"/>
                <a:gd name="T5" fmla="*/ 55 h 55"/>
                <a:gd name="T6" fmla="*/ 39 w 39"/>
                <a:gd name="T7" fmla="*/ 15 h 55"/>
                <a:gd name="T8" fmla="*/ 0 w 39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5">
                  <a:moveTo>
                    <a:pt x="0" y="0"/>
                  </a:moveTo>
                  <a:lnTo>
                    <a:pt x="5" y="44"/>
                  </a:lnTo>
                  <a:lnTo>
                    <a:pt x="34" y="55"/>
                  </a:lnTo>
                  <a:lnTo>
                    <a:pt x="39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52"/>
            <p:cNvSpPr>
              <a:spLocks/>
            </p:cNvSpPr>
            <p:nvPr/>
          </p:nvSpPr>
          <p:spPr bwMode="auto">
            <a:xfrm>
              <a:off x="6156325" y="3487738"/>
              <a:ext cx="20638" cy="34925"/>
            </a:xfrm>
            <a:custGeom>
              <a:avLst/>
              <a:gdLst>
                <a:gd name="T0" fmla="*/ 3 w 39"/>
                <a:gd name="T1" fmla="*/ 0 h 65"/>
                <a:gd name="T2" fmla="*/ 0 w 39"/>
                <a:gd name="T3" fmla="*/ 55 h 65"/>
                <a:gd name="T4" fmla="*/ 21 w 39"/>
                <a:gd name="T5" fmla="*/ 65 h 65"/>
                <a:gd name="T6" fmla="*/ 39 w 39"/>
                <a:gd name="T7" fmla="*/ 29 h 65"/>
                <a:gd name="T8" fmla="*/ 3 w 39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65">
                  <a:moveTo>
                    <a:pt x="3" y="0"/>
                  </a:moveTo>
                  <a:lnTo>
                    <a:pt x="0" y="55"/>
                  </a:lnTo>
                  <a:lnTo>
                    <a:pt x="21" y="65"/>
                  </a:lnTo>
                  <a:lnTo>
                    <a:pt x="39" y="29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53"/>
            <p:cNvSpPr>
              <a:spLocks/>
            </p:cNvSpPr>
            <p:nvPr/>
          </p:nvSpPr>
          <p:spPr bwMode="auto">
            <a:xfrm>
              <a:off x="6149975" y="3544888"/>
              <a:ext cx="25400" cy="19050"/>
            </a:xfrm>
            <a:custGeom>
              <a:avLst/>
              <a:gdLst>
                <a:gd name="T0" fmla="*/ 19 w 47"/>
                <a:gd name="T1" fmla="*/ 0 h 36"/>
                <a:gd name="T2" fmla="*/ 0 w 47"/>
                <a:gd name="T3" fmla="*/ 18 h 36"/>
                <a:gd name="T4" fmla="*/ 22 w 47"/>
                <a:gd name="T5" fmla="*/ 36 h 36"/>
                <a:gd name="T6" fmla="*/ 47 w 47"/>
                <a:gd name="T7" fmla="*/ 18 h 36"/>
                <a:gd name="T8" fmla="*/ 19 w 47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19" y="0"/>
                  </a:moveTo>
                  <a:lnTo>
                    <a:pt x="0" y="18"/>
                  </a:lnTo>
                  <a:lnTo>
                    <a:pt x="22" y="36"/>
                  </a:lnTo>
                  <a:lnTo>
                    <a:pt x="47" y="18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54"/>
            <p:cNvSpPr>
              <a:spLocks/>
            </p:cNvSpPr>
            <p:nvPr/>
          </p:nvSpPr>
          <p:spPr bwMode="auto">
            <a:xfrm>
              <a:off x="3554413" y="2497138"/>
              <a:ext cx="23813" cy="25400"/>
            </a:xfrm>
            <a:custGeom>
              <a:avLst/>
              <a:gdLst>
                <a:gd name="T0" fmla="*/ 24 w 47"/>
                <a:gd name="T1" fmla="*/ 0 h 48"/>
                <a:gd name="T2" fmla="*/ 0 w 47"/>
                <a:gd name="T3" fmla="*/ 24 h 48"/>
                <a:gd name="T4" fmla="*/ 42 w 47"/>
                <a:gd name="T5" fmla="*/ 48 h 48"/>
                <a:gd name="T6" fmla="*/ 47 w 47"/>
                <a:gd name="T7" fmla="*/ 15 h 48"/>
                <a:gd name="T8" fmla="*/ 24 w 47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8">
                  <a:moveTo>
                    <a:pt x="24" y="0"/>
                  </a:moveTo>
                  <a:lnTo>
                    <a:pt x="0" y="24"/>
                  </a:lnTo>
                  <a:lnTo>
                    <a:pt x="42" y="48"/>
                  </a:lnTo>
                  <a:lnTo>
                    <a:pt x="47" y="15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55"/>
            <p:cNvSpPr>
              <a:spLocks/>
            </p:cNvSpPr>
            <p:nvPr/>
          </p:nvSpPr>
          <p:spPr bwMode="auto">
            <a:xfrm>
              <a:off x="3617913" y="2489200"/>
              <a:ext cx="31750" cy="20638"/>
            </a:xfrm>
            <a:custGeom>
              <a:avLst/>
              <a:gdLst>
                <a:gd name="T0" fmla="*/ 28 w 61"/>
                <a:gd name="T1" fmla="*/ 0 h 38"/>
                <a:gd name="T2" fmla="*/ 0 w 61"/>
                <a:gd name="T3" fmla="*/ 19 h 38"/>
                <a:gd name="T4" fmla="*/ 23 w 61"/>
                <a:gd name="T5" fmla="*/ 38 h 38"/>
                <a:gd name="T6" fmla="*/ 61 w 61"/>
                <a:gd name="T7" fmla="*/ 29 h 38"/>
                <a:gd name="T8" fmla="*/ 28 w 6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8">
                  <a:moveTo>
                    <a:pt x="28" y="0"/>
                  </a:moveTo>
                  <a:lnTo>
                    <a:pt x="0" y="19"/>
                  </a:lnTo>
                  <a:lnTo>
                    <a:pt x="23" y="38"/>
                  </a:lnTo>
                  <a:lnTo>
                    <a:pt x="61" y="29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56"/>
            <p:cNvSpPr>
              <a:spLocks/>
            </p:cNvSpPr>
            <p:nvPr/>
          </p:nvSpPr>
          <p:spPr bwMode="auto">
            <a:xfrm>
              <a:off x="3635375" y="2524125"/>
              <a:ext cx="22225" cy="33338"/>
            </a:xfrm>
            <a:custGeom>
              <a:avLst/>
              <a:gdLst>
                <a:gd name="T0" fmla="*/ 14 w 41"/>
                <a:gd name="T1" fmla="*/ 0 h 61"/>
                <a:gd name="T2" fmla="*/ 0 w 41"/>
                <a:gd name="T3" fmla="*/ 38 h 61"/>
                <a:gd name="T4" fmla="*/ 18 w 41"/>
                <a:gd name="T5" fmla="*/ 61 h 61"/>
                <a:gd name="T6" fmla="*/ 41 w 41"/>
                <a:gd name="T7" fmla="*/ 43 h 61"/>
                <a:gd name="T8" fmla="*/ 14 w 41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61">
                  <a:moveTo>
                    <a:pt x="14" y="0"/>
                  </a:moveTo>
                  <a:lnTo>
                    <a:pt x="0" y="38"/>
                  </a:lnTo>
                  <a:lnTo>
                    <a:pt x="18" y="61"/>
                  </a:lnTo>
                  <a:lnTo>
                    <a:pt x="41" y="4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157"/>
            <p:cNvSpPr>
              <a:spLocks/>
            </p:cNvSpPr>
            <p:nvPr/>
          </p:nvSpPr>
          <p:spPr bwMode="auto">
            <a:xfrm>
              <a:off x="3697288" y="2563813"/>
              <a:ext cx="26988" cy="20638"/>
            </a:xfrm>
            <a:custGeom>
              <a:avLst/>
              <a:gdLst>
                <a:gd name="T0" fmla="*/ 9 w 51"/>
                <a:gd name="T1" fmla="*/ 0 h 38"/>
                <a:gd name="T2" fmla="*/ 0 w 51"/>
                <a:gd name="T3" fmla="*/ 24 h 38"/>
                <a:gd name="T4" fmla="*/ 13 w 51"/>
                <a:gd name="T5" fmla="*/ 38 h 38"/>
                <a:gd name="T6" fmla="*/ 51 w 51"/>
                <a:gd name="T7" fmla="*/ 14 h 38"/>
                <a:gd name="T8" fmla="*/ 9 w 5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9" y="0"/>
                  </a:moveTo>
                  <a:lnTo>
                    <a:pt x="0" y="24"/>
                  </a:lnTo>
                  <a:lnTo>
                    <a:pt x="13" y="38"/>
                  </a:lnTo>
                  <a:lnTo>
                    <a:pt x="51" y="14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58"/>
            <p:cNvSpPr>
              <a:spLocks/>
            </p:cNvSpPr>
            <p:nvPr/>
          </p:nvSpPr>
          <p:spPr bwMode="auto">
            <a:xfrm>
              <a:off x="3878263" y="2673350"/>
              <a:ext cx="25400" cy="25400"/>
            </a:xfrm>
            <a:custGeom>
              <a:avLst/>
              <a:gdLst>
                <a:gd name="T0" fmla="*/ 20 w 47"/>
                <a:gd name="T1" fmla="*/ 0 h 47"/>
                <a:gd name="T2" fmla="*/ 0 w 47"/>
                <a:gd name="T3" fmla="*/ 24 h 47"/>
                <a:gd name="T4" fmla="*/ 20 w 47"/>
                <a:gd name="T5" fmla="*/ 47 h 47"/>
                <a:gd name="T6" fmla="*/ 47 w 47"/>
                <a:gd name="T7" fmla="*/ 33 h 47"/>
                <a:gd name="T8" fmla="*/ 20 w 47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7">
                  <a:moveTo>
                    <a:pt x="20" y="0"/>
                  </a:moveTo>
                  <a:lnTo>
                    <a:pt x="0" y="24"/>
                  </a:lnTo>
                  <a:lnTo>
                    <a:pt x="20" y="47"/>
                  </a:lnTo>
                  <a:lnTo>
                    <a:pt x="47" y="33"/>
                  </a:ln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159"/>
            <p:cNvSpPr>
              <a:spLocks/>
            </p:cNvSpPr>
            <p:nvPr/>
          </p:nvSpPr>
          <p:spPr bwMode="auto">
            <a:xfrm>
              <a:off x="3940175" y="2830513"/>
              <a:ext cx="15875" cy="15875"/>
            </a:xfrm>
            <a:custGeom>
              <a:avLst/>
              <a:gdLst>
                <a:gd name="T0" fmla="*/ 29 w 29"/>
                <a:gd name="T1" fmla="*/ 0 h 31"/>
                <a:gd name="T2" fmla="*/ 0 w 29"/>
                <a:gd name="T3" fmla="*/ 17 h 31"/>
                <a:gd name="T4" fmla="*/ 13 w 29"/>
                <a:gd name="T5" fmla="*/ 31 h 31"/>
                <a:gd name="T6" fmla="*/ 29 w 29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1">
                  <a:moveTo>
                    <a:pt x="29" y="0"/>
                  </a:moveTo>
                  <a:lnTo>
                    <a:pt x="0" y="17"/>
                  </a:lnTo>
                  <a:lnTo>
                    <a:pt x="13" y="31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60"/>
            <p:cNvSpPr>
              <a:spLocks/>
            </p:cNvSpPr>
            <p:nvPr/>
          </p:nvSpPr>
          <p:spPr bwMode="auto">
            <a:xfrm>
              <a:off x="3881438" y="2832100"/>
              <a:ext cx="23813" cy="19050"/>
            </a:xfrm>
            <a:custGeom>
              <a:avLst/>
              <a:gdLst>
                <a:gd name="T0" fmla="*/ 38 w 47"/>
                <a:gd name="T1" fmla="*/ 0 h 37"/>
                <a:gd name="T2" fmla="*/ 0 w 47"/>
                <a:gd name="T3" fmla="*/ 9 h 37"/>
                <a:gd name="T4" fmla="*/ 19 w 47"/>
                <a:gd name="T5" fmla="*/ 37 h 37"/>
                <a:gd name="T6" fmla="*/ 47 w 47"/>
                <a:gd name="T7" fmla="*/ 37 h 37"/>
                <a:gd name="T8" fmla="*/ 38 w 4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7">
                  <a:moveTo>
                    <a:pt x="38" y="0"/>
                  </a:moveTo>
                  <a:lnTo>
                    <a:pt x="0" y="9"/>
                  </a:lnTo>
                  <a:lnTo>
                    <a:pt x="19" y="37"/>
                  </a:lnTo>
                  <a:lnTo>
                    <a:pt x="47" y="37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61"/>
            <p:cNvSpPr>
              <a:spLocks/>
            </p:cNvSpPr>
            <p:nvPr/>
          </p:nvSpPr>
          <p:spPr bwMode="auto">
            <a:xfrm>
              <a:off x="3841750" y="2816225"/>
              <a:ext cx="26988" cy="28575"/>
            </a:xfrm>
            <a:custGeom>
              <a:avLst/>
              <a:gdLst>
                <a:gd name="T0" fmla="*/ 24 w 52"/>
                <a:gd name="T1" fmla="*/ 0 h 52"/>
                <a:gd name="T2" fmla="*/ 0 w 52"/>
                <a:gd name="T3" fmla="*/ 24 h 52"/>
                <a:gd name="T4" fmla="*/ 34 w 52"/>
                <a:gd name="T5" fmla="*/ 52 h 52"/>
                <a:gd name="T6" fmla="*/ 52 w 52"/>
                <a:gd name="T7" fmla="*/ 9 h 52"/>
                <a:gd name="T8" fmla="*/ 24 w 52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24" y="0"/>
                  </a:moveTo>
                  <a:lnTo>
                    <a:pt x="0" y="24"/>
                  </a:lnTo>
                  <a:lnTo>
                    <a:pt x="34" y="52"/>
                  </a:lnTo>
                  <a:lnTo>
                    <a:pt x="52" y="9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62"/>
            <p:cNvSpPr>
              <a:spLocks/>
            </p:cNvSpPr>
            <p:nvPr/>
          </p:nvSpPr>
          <p:spPr bwMode="auto">
            <a:xfrm>
              <a:off x="3684588" y="3163888"/>
              <a:ext cx="26988" cy="20638"/>
            </a:xfrm>
            <a:custGeom>
              <a:avLst/>
              <a:gdLst>
                <a:gd name="T0" fmla="*/ 32 w 51"/>
                <a:gd name="T1" fmla="*/ 0 h 38"/>
                <a:gd name="T2" fmla="*/ 0 w 51"/>
                <a:gd name="T3" fmla="*/ 18 h 38"/>
                <a:gd name="T4" fmla="*/ 23 w 51"/>
                <a:gd name="T5" fmla="*/ 38 h 38"/>
                <a:gd name="T6" fmla="*/ 51 w 51"/>
                <a:gd name="T7" fmla="*/ 23 h 38"/>
                <a:gd name="T8" fmla="*/ 32 w 51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8">
                  <a:moveTo>
                    <a:pt x="32" y="0"/>
                  </a:moveTo>
                  <a:lnTo>
                    <a:pt x="0" y="18"/>
                  </a:lnTo>
                  <a:lnTo>
                    <a:pt x="23" y="38"/>
                  </a:lnTo>
                  <a:lnTo>
                    <a:pt x="51" y="23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63"/>
            <p:cNvSpPr>
              <a:spLocks/>
            </p:cNvSpPr>
            <p:nvPr/>
          </p:nvSpPr>
          <p:spPr bwMode="auto">
            <a:xfrm>
              <a:off x="3732213" y="3184525"/>
              <a:ext cx="26988" cy="23813"/>
            </a:xfrm>
            <a:custGeom>
              <a:avLst/>
              <a:gdLst>
                <a:gd name="T0" fmla="*/ 22 w 52"/>
                <a:gd name="T1" fmla="*/ 0 h 46"/>
                <a:gd name="T2" fmla="*/ 0 w 52"/>
                <a:gd name="T3" fmla="*/ 18 h 46"/>
                <a:gd name="T4" fmla="*/ 15 w 52"/>
                <a:gd name="T5" fmla="*/ 46 h 46"/>
                <a:gd name="T6" fmla="*/ 52 w 52"/>
                <a:gd name="T7" fmla="*/ 30 h 46"/>
                <a:gd name="T8" fmla="*/ 22 w 52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6">
                  <a:moveTo>
                    <a:pt x="22" y="0"/>
                  </a:moveTo>
                  <a:lnTo>
                    <a:pt x="0" y="18"/>
                  </a:lnTo>
                  <a:lnTo>
                    <a:pt x="15" y="46"/>
                  </a:lnTo>
                  <a:lnTo>
                    <a:pt x="52" y="3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64"/>
            <p:cNvSpPr>
              <a:spLocks/>
            </p:cNvSpPr>
            <p:nvPr/>
          </p:nvSpPr>
          <p:spPr bwMode="auto">
            <a:xfrm>
              <a:off x="3705225" y="3211513"/>
              <a:ext cx="26988" cy="30163"/>
            </a:xfrm>
            <a:custGeom>
              <a:avLst/>
              <a:gdLst>
                <a:gd name="T0" fmla="*/ 28 w 52"/>
                <a:gd name="T1" fmla="*/ 0 h 56"/>
                <a:gd name="T2" fmla="*/ 0 w 52"/>
                <a:gd name="T3" fmla="*/ 17 h 56"/>
                <a:gd name="T4" fmla="*/ 30 w 52"/>
                <a:gd name="T5" fmla="*/ 56 h 56"/>
                <a:gd name="T6" fmla="*/ 52 w 52"/>
                <a:gd name="T7" fmla="*/ 44 h 56"/>
                <a:gd name="T8" fmla="*/ 28 w 52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6">
                  <a:moveTo>
                    <a:pt x="28" y="0"/>
                  </a:moveTo>
                  <a:lnTo>
                    <a:pt x="0" y="17"/>
                  </a:lnTo>
                  <a:lnTo>
                    <a:pt x="30" y="56"/>
                  </a:lnTo>
                  <a:lnTo>
                    <a:pt x="52" y="44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65"/>
            <p:cNvSpPr>
              <a:spLocks/>
            </p:cNvSpPr>
            <p:nvPr/>
          </p:nvSpPr>
          <p:spPr bwMode="auto">
            <a:xfrm>
              <a:off x="279400" y="2784475"/>
              <a:ext cx="28575" cy="33338"/>
            </a:xfrm>
            <a:custGeom>
              <a:avLst/>
              <a:gdLst>
                <a:gd name="T0" fmla="*/ 2 w 56"/>
                <a:gd name="T1" fmla="*/ 0 h 63"/>
                <a:gd name="T2" fmla="*/ 0 w 56"/>
                <a:gd name="T3" fmla="*/ 40 h 63"/>
                <a:gd name="T4" fmla="*/ 35 w 56"/>
                <a:gd name="T5" fmla="*/ 63 h 63"/>
                <a:gd name="T6" fmla="*/ 56 w 56"/>
                <a:gd name="T7" fmla="*/ 45 h 63"/>
                <a:gd name="T8" fmla="*/ 2 w 56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3">
                  <a:moveTo>
                    <a:pt x="2" y="0"/>
                  </a:moveTo>
                  <a:lnTo>
                    <a:pt x="0" y="40"/>
                  </a:lnTo>
                  <a:lnTo>
                    <a:pt x="35" y="63"/>
                  </a:lnTo>
                  <a:lnTo>
                    <a:pt x="56" y="45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66"/>
            <p:cNvSpPr>
              <a:spLocks/>
            </p:cNvSpPr>
            <p:nvPr/>
          </p:nvSpPr>
          <p:spPr bwMode="auto">
            <a:xfrm>
              <a:off x="311150" y="2816225"/>
              <a:ext cx="31750" cy="30163"/>
            </a:xfrm>
            <a:custGeom>
              <a:avLst/>
              <a:gdLst>
                <a:gd name="T0" fmla="*/ 33 w 61"/>
                <a:gd name="T1" fmla="*/ 0 h 58"/>
                <a:gd name="T2" fmla="*/ 0 w 61"/>
                <a:gd name="T3" fmla="*/ 24 h 58"/>
                <a:gd name="T4" fmla="*/ 28 w 61"/>
                <a:gd name="T5" fmla="*/ 58 h 58"/>
                <a:gd name="T6" fmla="*/ 61 w 61"/>
                <a:gd name="T7" fmla="*/ 31 h 58"/>
                <a:gd name="T8" fmla="*/ 33 w 61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8">
                  <a:moveTo>
                    <a:pt x="33" y="0"/>
                  </a:moveTo>
                  <a:lnTo>
                    <a:pt x="0" y="24"/>
                  </a:lnTo>
                  <a:lnTo>
                    <a:pt x="28" y="58"/>
                  </a:lnTo>
                  <a:lnTo>
                    <a:pt x="61" y="31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67"/>
            <p:cNvSpPr>
              <a:spLocks/>
            </p:cNvSpPr>
            <p:nvPr/>
          </p:nvSpPr>
          <p:spPr bwMode="auto">
            <a:xfrm>
              <a:off x="347663" y="2844800"/>
              <a:ext cx="25400" cy="33338"/>
            </a:xfrm>
            <a:custGeom>
              <a:avLst/>
              <a:gdLst>
                <a:gd name="T0" fmla="*/ 29 w 49"/>
                <a:gd name="T1" fmla="*/ 0 h 61"/>
                <a:gd name="T2" fmla="*/ 0 w 49"/>
                <a:gd name="T3" fmla="*/ 38 h 61"/>
                <a:gd name="T4" fmla="*/ 9 w 49"/>
                <a:gd name="T5" fmla="*/ 61 h 61"/>
                <a:gd name="T6" fmla="*/ 49 w 49"/>
                <a:gd name="T7" fmla="*/ 43 h 61"/>
                <a:gd name="T8" fmla="*/ 29 w 49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1">
                  <a:moveTo>
                    <a:pt x="29" y="0"/>
                  </a:moveTo>
                  <a:lnTo>
                    <a:pt x="0" y="38"/>
                  </a:lnTo>
                  <a:lnTo>
                    <a:pt x="9" y="61"/>
                  </a:lnTo>
                  <a:lnTo>
                    <a:pt x="49" y="43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68"/>
            <p:cNvSpPr>
              <a:spLocks/>
            </p:cNvSpPr>
            <p:nvPr/>
          </p:nvSpPr>
          <p:spPr bwMode="auto">
            <a:xfrm>
              <a:off x="377825" y="2884488"/>
              <a:ext cx="52388" cy="66675"/>
            </a:xfrm>
            <a:custGeom>
              <a:avLst/>
              <a:gdLst>
                <a:gd name="T0" fmla="*/ 16 w 97"/>
                <a:gd name="T1" fmla="*/ 0 h 128"/>
                <a:gd name="T2" fmla="*/ 0 w 97"/>
                <a:gd name="T3" fmla="*/ 94 h 128"/>
                <a:gd name="T4" fmla="*/ 16 w 97"/>
                <a:gd name="T5" fmla="*/ 128 h 128"/>
                <a:gd name="T6" fmla="*/ 70 w 97"/>
                <a:gd name="T7" fmla="*/ 112 h 128"/>
                <a:gd name="T8" fmla="*/ 97 w 97"/>
                <a:gd name="T9" fmla="*/ 65 h 128"/>
                <a:gd name="T10" fmla="*/ 40 w 97"/>
                <a:gd name="T11" fmla="*/ 11 h 128"/>
                <a:gd name="T12" fmla="*/ 16 w 97"/>
                <a:gd name="T1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" h="128">
                  <a:moveTo>
                    <a:pt x="16" y="0"/>
                  </a:moveTo>
                  <a:lnTo>
                    <a:pt x="0" y="94"/>
                  </a:lnTo>
                  <a:lnTo>
                    <a:pt x="16" y="128"/>
                  </a:lnTo>
                  <a:lnTo>
                    <a:pt x="70" y="112"/>
                  </a:lnTo>
                  <a:lnTo>
                    <a:pt x="97" y="65"/>
                  </a:lnTo>
                  <a:lnTo>
                    <a:pt x="40" y="11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69"/>
            <p:cNvSpPr>
              <a:spLocks/>
            </p:cNvSpPr>
            <p:nvPr/>
          </p:nvSpPr>
          <p:spPr bwMode="auto">
            <a:xfrm>
              <a:off x="417513" y="4178300"/>
              <a:ext cx="30163" cy="25400"/>
            </a:xfrm>
            <a:custGeom>
              <a:avLst/>
              <a:gdLst>
                <a:gd name="T0" fmla="*/ 35 w 56"/>
                <a:gd name="T1" fmla="*/ 3 h 47"/>
                <a:gd name="T2" fmla="*/ 2 w 56"/>
                <a:gd name="T3" fmla="*/ 0 h 47"/>
                <a:gd name="T4" fmla="*/ 0 w 56"/>
                <a:gd name="T5" fmla="*/ 30 h 47"/>
                <a:gd name="T6" fmla="*/ 25 w 56"/>
                <a:gd name="T7" fmla="*/ 47 h 47"/>
                <a:gd name="T8" fmla="*/ 56 w 56"/>
                <a:gd name="T9" fmla="*/ 28 h 47"/>
                <a:gd name="T10" fmla="*/ 35 w 56"/>
                <a:gd name="T1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47">
                  <a:moveTo>
                    <a:pt x="35" y="3"/>
                  </a:moveTo>
                  <a:lnTo>
                    <a:pt x="2" y="0"/>
                  </a:lnTo>
                  <a:lnTo>
                    <a:pt x="0" y="30"/>
                  </a:lnTo>
                  <a:lnTo>
                    <a:pt x="25" y="47"/>
                  </a:lnTo>
                  <a:lnTo>
                    <a:pt x="56" y="28"/>
                  </a:lnTo>
                  <a:lnTo>
                    <a:pt x="3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70"/>
            <p:cNvSpPr>
              <a:spLocks/>
            </p:cNvSpPr>
            <p:nvPr/>
          </p:nvSpPr>
          <p:spPr bwMode="auto">
            <a:xfrm>
              <a:off x="471488" y="4197350"/>
              <a:ext cx="42863" cy="38100"/>
            </a:xfrm>
            <a:custGeom>
              <a:avLst/>
              <a:gdLst>
                <a:gd name="T0" fmla="*/ 46 w 81"/>
                <a:gd name="T1" fmla="*/ 0 h 73"/>
                <a:gd name="T2" fmla="*/ 0 w 81"/>
                <a:gd name="T3" fmla="*/ 31 h 73"/>
                <a:gd name="T4" fmla="*/ 35 w 81"/>
                <a:gd name="T5" fmla="*/ 73 h 73"/>
                <a:gd name="T6" fmla="*/ 64 w 81"/>
                <a:gd name="T7" fmla="*/ 66 h 73"/>
                <a:gd name="T8" fmla="*/ 81 w 81"/>
                <a:gd name="T9" fmla="*/ 45 h 73"/>
                <a:gd name="T10" fmla="*/ 46 w 81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73">
                  <a:moveTo>
                    <a:pt x="46" y="0"/>
                  </a:moveTo>
                  <a:lnTo>
                    <a:pt x="0" y="31"/>
                  </a:lnTo>
                  <a:lnTo>
                    <a:pt x="35" y="73"/>
                  </a:lnTo>
                  <a:lnTo>
                    <a:pt x="64" y="66"/>
                  </a:lnTo>
                  <a:lnTo>
                    <a:pt x="81" y="45"/>
                  </a:lnTo>
                  <a:lnTo>
                    <a:pt x="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71"/>
            <p:cNvSpPr>
              <a:spLocks/>
            </p:cNvSpPr>
            <p:nvPr/>
          </p:nvSpPr>
          <p:spPr bwMode="auto">
            <a:xfrm>
              <a:off x="2682875" y="3098800"/>
              <a:ext cx="20638" cy="17463"/>
            </a:xfrm>
            <a:custGeom>
              <a:avLst/>
              <a:gdLst>
                <a:gd name="T0" fmla="*/ 25 w 40"/>
                <a:gd name="T1" fmla="*/ 0 h 34"/>
                <a:gd name="T2" fmla="*/ 0 w 40"/>
                <a:gd name="T3" fmla="*/ 10 h 34"/>
                <a:gd name="T4" fmla="*/ 9 w 40"/>
                <a:gd name="T5" fmla="*/ 34 h 34"/>
                <a:gd name="T6" fmla="*/ 40 w 40"/>
                <a:gd name="T7" fmla="*/ 13 h 34"/>
                <a:gd name="T8" fmla="*/ 34 w 40"/>
                <a:gd name="T9" fmla="*/ 7 h 34"/>
                <a:gd name="T10" fmla="*/ 25 w 40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34">
                  <a:moveTo>
                    <a:pt x="25" y="0"/>
                  </a:moveTo>
                  <a:lnTo>
                    <a:pt x="0" y="10"/>
                  </a:lnTo>
                  <a:lnTo>
                    <a:pt x="9" y="34"/>
                  </a:lnTo>
                  <a:lnTo>
                    <a:pt x="40" y="13"/>
                  </a:lnTo>
                  <a:lnTo>
                    <a:pt x="34" y="7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72"/>
            <p:cNvSpPr>
              <a:spLocks/>
            </p:cNvSpPr>
            <p:nvPr/>
          </p:nvSpPr>
          <p:spPr bwMode="auto">
            <a:xfrm>
              <a:off x="2709863" y="3113088"/>
              <a:ext cx="22225" cy="30163"/>
            </a:xfrm>
            <a:custGeom>
              <a:avLst/>
              <a:gdLst>
                <a:gd name="T0" fmla="*/ 15 w 40"/>
                <a:gd name="T1" fmla="*/ 0 h 57"/>
                <a:gd name="T2" fmla="*/ 0 w 40"/>
                <a:gd name="T3" fmla="*/ 32 h 57"/>
                <a:gd name="T4" fmla="*/ 18 w 40"/>
                <a:gd name="T5" fmla="*/ 57 h 57"/>
                <a:gd name="T6" fmla="*/ 40 w 40"/>
                <a:gd name="T7" fmla="*/ 36 h 57"/>
                <a:gd name="T8" fmla="*/ 15 w 40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7">
                  <a:moveTo>
                    <a:pt x="15" y="0"/>
                  </a:moveTo>
                  <a:lnTo>
                    <a:pt x="0" y="32"/>
                  </a:lnTo>
                  <a:lnTo>
                    <a:pt x="18" y="57"/>
                  </a:lnTo>
                  <a:lnTo>
                    <a:pt x="40" y="36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73"/>
            <p:cNvSpPr>
              <a:spLocks/>
            </p:cNvSpPr>
            <p:nvPr/>
          </p:nvSpPr>
          <p:spPr bwMode="auto">
            <a:xfrm>
              <a:off x="2736850" y="3159125"/>
              <a:ext cx="19050" cy="23813"/>
            </a:xfrm>
            <a:custGeom>
              <a:avLst/>
              <a:gdLst>
                <a:gd name="T0" fmla="*/ 18 w 38"/>
                <a:gd name="T1" fmla="*/ 0 h 45"/>
                <a:gd name="T2" fmla="*/ 0 w 38"/>
                <a:gd name="T3" fmla="*/ 17 h 45"/>
                <a:gd name="T4" fmla="*/ 13 w 38"/>
                <a:gd name="T5" fmla="*/ 45 h 45"/>
                <a:gd name="T6" fmla="*/ 38 w 38"/>
                <a:gd name="T7" fmla="*/ 37 h 45"/>
                <a:gd name="T8" fmla="*/ 18 w 38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5">
                  <a:moveTo>
                    <a:pt x="18" y="0"/>
                  </a:moveTo>
                  <a:lnTo>
                    <a:pt x="0" y="17"/>
                  </a:lnTo>
                  <a:lnTo>
                    <a:pt x="13" y="45"/>
                  </a:lnTo>
                  <a:lnTo>
                    <a:pt x="38" y="37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74"/>
            <p:cNvSpPr>
              <a:spLocks/>
            </p:cNvSpPr>
            <p:nvPr/>
          </p:nvSpPr>
          <p:spPr bwMode="auto">
            <a:xfrm>
              <a:off x="2738438" y="3195638"/>
              <a:ext cx="23813" cy="25400"/>
            </a:xfrm>
            <a:custGeom>
              <a:avLst/>
              <a:gdLst>
                <a:gd name="T0" fmla="*/ 12 w 45"/>
                <a:gd name="T1" fmla="*/ 0 h 47"/>
                <a:gd name="T2" fmla="*/ 0 w 45"/>
                <a:gd name="T3" fmla="*/ 25 h 47"/>
                <a:gd name="T4" fmla="*/ 20 w 45"/>
                <a:gd name="T5" fmla="*/ 47 h 47"/>
                <a:gd name="T6" fmla="*/ 45 w 45"/>
                <a:gd name="T7" fmla="*/ 34 h 47"/>
                <a:gd name="T8" fmla="*/ 12 w 45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7">
                  <a:moveTo>
                    <a:pt x="12" y="0"/>
                  </a:moveTo>
                  <a:lnTo>
                    <a:pt x="0" y="25"/>
                  </a:lnTo>
                  <a:lnTo>
                    <a:pt x="20" y="47"/>
                  </a:lnTo>
                  <a:lnTo>
                    <a:pt x="45" y="34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75"/>
            <p:cNvSpPr>
              <a:spLocks/>
            </p:cNvSpPr>
            <p:nvPr/>
          </p:nvSpPr>
          <p:spPr bwMode="auto">
            <a:xfrm>
              <a:off x="2733675" y="3230563"/>
              <a:ext cx="23813" cy="23813"/>
            </a:xfrm>
            <a:custGeom>
              <a:avLst/>
              <a:gdLst>
                <a:gd name="T0" fmla="*/ 22 w 44"/>
                <a:gd name="T1" fmla="*/ 0 h 46"/>
                <a:gd name="T2" fmla="*/ 0 w 44"/>
                <a:gd name="T3" fmla="*/ 15 h 46"/>
                <a:gd name="T4" fmla="*/ 17 w 44"/>
                <a:gd name="T5" fmla="*/ 46 h 46"/>
                <a:gd name="T6" fmla="*/ 44 w 44"/>
                <a:gd name="T7" fmla="*/ 30 h 46"/>
                <a:gd name="T8" fmla="*/ 22 w 44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6">
                  <a:moveTo>
                    <a:pt x="22" y="0"/>
                  </a:moveTo>
                  <a:lnTo>
                    <a:pt x="0" y="15"/>
                  </a:lnTo>
                  <a:lnTo>
                    <a:pt x="17" y="46"/>
                  </a:lnTo>
                  <a:lnTo>
                    <a:pt x="44" y="3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76"/>
            <p:cNvSpPr>
              <a:spLocks/>
            </p:cNvSpPr>
            <p:nvPr/>
          </p:nvSpPr>
          <p:spPr bwMode="auto">
            <a:xfrm>
              <a:off x="2720975" y="3260725"/>
              <a:ext cx="22225" cy="17463"/>
            </a:xfrm>
            <a:custGeom>
              <a:avLst/>
              <a:gdLst>
                <a:gd name="T0" fmla="*/ 19 w 40"/>
                <a:gd name="T1" fmla="*/ 0 h 32"/>
                <a:gd name="T2" fmla="*/ 0 w 40"/>
                <a:gd name="T3" fmla="*/ 20 h 32"/>
                <a:gd name="T4" fmla="*/ 7 w 40"/>
                <a:gd name="T5" fmla="*/ 32 h 32"/>
                <a:gd name="T6" fmla="*/ 32 w 40"/>
                <a:gd name="T7" fmla="*/ 32 h 32"/>
                <a:gd name="T8" fmla="*/ 40 w 40"/>
                <a:gd name="T9" fmla="*/ 12 h 32"/>
                <a:gd name="T10" fmla="*/ 19 w 40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32">
                  <a:moveTo>
                    <a:pt x="19" y="0"/>
                  </a:moveTo>
                  <a:lnTo>
                    <a:pt x="0" y="20"/>
                  </a:lnTo>
                  <a:lnTo>
                    <a:pt x="7" y="32"/>
                  </a:lnTo>
                  <a:lnTo>
                    <a:pt x="32" y="32"/>
                  </a:lnTo>
                  <a:lnTo>
                    <a:pt x="40" y="12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77"/>
            <p:cNvSpPr>
              <a:spLocks/>
            </p:cNvSpPr>
            <p:nvPr/>
          </p:nvSpPr>
          <p:spPr bwMode="auto">
            <a:xfrm>
              <a:off x="2727325" y="3292475"/>
              <a:ext cx="31750" cy="41275"/>
            </a:xfrm>
            <a:custGeom>
              <a:avLst/>
              <a:gdLst>
                <a:gd name="T0" fmla="*/ 39 w 61"/>
                <a:gd name="T1" fmla="*/ 0 h 77"/>
                <a:gd name="T2" fmla="*/ 21 w 61"/>
                <a:gd name="T3" fmla="*/ 17 h 77"/>
                <a:gd name="T4" fmla="*/ 0 w 61"/>
                <a:gd name="T5" fmla="*/ 20 h 77"/>
                <a:gd name="T6" fmla="*/ 0 w 61"/>
                <a:gd name="T7" fmla="*/ 44 h 77"/>
                <a:gd name="T8" fmla="*/ 37 w 61"/>
                <a:gd name="T9" fmla="*/ 77 h 77"/>
                <a:gd name="T10" fmla="*/ 52 w 61"/>
                <a:gd name="T11" fmla="*/ 53 h 77"/>
                <a:gd name="T12" fmla="*/ 61 w 61"/>
                <a:gd name="T13" fmla="*/ 25 h 77"/>
                <a:gd name="T14" fmla="*/ 58 w 61"/>
                <a:gd name="T15" fmla="*/ 3 h 77"/>
                <a:gd name="T16" fmla="*/ 39 w 61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77">
                  <a:moveTo>
                    <a:pt x="39" y="0"/>
                  </a:moveTo>
                  <a:lnTo>
                    <a:pt x="21" y="17"/>
                  </a:lnTo>
                  <a:lnTo>
                    <a:pt x="0" y="20"/>
                  </a:lnTo>
                  <a:lnTo>
                    <a:pt x="0" y="44"/>
                  </a:lnTo>
                  <a:lnTo>
                    <a:pt x="37" y="77"/>
                  </a:lnTo>
                  <a:lnTo>
                    <a:pt x="52" y="53"/>
                  </a:lnTo>
                  <a:lnTo>
                    <a:pt x="61" y="25"/>
                  </a:lnTo>
                  <a:lnTo>
                    <a:pt x="58" y="3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78"/>
            <p:cNvSpPr>
              <a:spLocks/>
            </p:cNvSpPr>
            <p:nvPr/>
          </p:nvSpPr>
          <p:spPr bwMode="auto">
            <a:xfrm>
              <a:off x="2601913" y="3070225"/>
              <a:ext cx="44450" cy="26988"/>
            </a:xfrm>
            <a:custGeom>
              <a:avLst/>
              <a:gdLst>
                <a:gd name="T0" fmla="*/ 82 w 82"/>
                <a:gd name="T1" fmla="*/ 16 h 53"/>
                <a:gd name="T2" fmla="*/ 36 w 82"/>
                <a:gd name="T3" fmla="*/ 0 h 53"/>
                <a:gd name="T4" fmla="*/ 0 w 82"/>
                <a:gd name="T5" fmla="*/ 23 h 53"/>
                <a:gd name="T6" fmla="*/ 18 w 82"/>
                <a:gd name="T7" fmla="*/ 44 h 53"/>
                <a:gd name="T8" fmla="*/ 80 w 82"/>
                <a:gd name="T9" fmla="*/ 53 h 53"/>
                <a:gd name="T10" fmla="*/ 82 w 82"/>
                <a:gd name="T11" fmla="*/ 1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53">
                  <a:moveTo>
                    <a:pt x="82" y="16"/>
                  </a:moveTo>
                  <a:lnTo>
                    <a:pt x="36" y="0"/>
                  </a:lnTo>
                  <a:lnTo>
                    <a:pt x="0" y="23"/>
                  </a:lnTo>
                  <a:lnTo>
                    <a:pt x="18" y="44"/>
                  </a:lnTo>
                  <a:lnTo>
                    <a:pt x="80" y="53"/>
                  </a:lnTo>
                  <a:lnTo>
                    <a:pt x="8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79"/>
            <p:cNvSpPr>
              <a:spLocks/>
            </p:cNvSpPr>
            <p:nvPr/>
          </p:nvSpPr>
          <p:spPr bwMode="auto">
            <a:xfrm>
              <a:off x="2428875" y="3025775"/>
              <a:ext cx="144463" cy="77788"/>
            </a:xfrm>
            <a:custGeom>
              <a:avLst/>
              <a:gdLst>
                <a:gd name="T0" fmla="*/ 63 w 273"/>
                <a:gd name="T1" fmla="*/ 0 h 145"/>
                <a:gd name="T2" fmla="*/ 35 w 273"/>
                <a:gd name="T3" fmla="*/ 30 h 145"/>
                <a:gd name="T4" fmla="*/ 67 w 273"/>
                <a:gd name="T5" fmla="*/ 43 h 145"/>
                <a:gd name="T6" fmla="*/ 72 w 273"/>
                <a:gd name="T7" fmla="*/ 83 h 145"/>
                <a:gd name="T8" fmla="*/ 0 w 273"/>
                <a:gd name="T9" fmla="*/ 91 h 145"/>
                <a:gd name="T10" fmla="*/ 7 w 273"/>
                <a:gd name="T11" fmla="*/ 129 h 145"/>
                <a:gd name="T12" fmla="*/ 28 w 273"/>
                <a:gd name="T13" fmla="*/ 131 h 145"/>
                <a:gd name="T14" fmla="*/ 41 w 273"/>
                <a:gd name="T15" fmla="*/ 113 h 145"/>
                <a:gd name="T16" fmla="*/ 125 w 273"/>
                <a:gd name="T17" fmla="*/ 116 h 145"/>
                <a:gd name="T18" fmla="*/ 140 w 273"/>
                <a:gd name="T19" fmla="*/ 145 h 145"/>
                <a:gd name="T20" fmla="*/ 159 w 273"/>
                <a:gd name="T21" fmla="*/ 122 h 145"/>
                <a:gd name="T22" fmla="*/ 216 w 273"/>
                <a:gd name="T23" fmla="*/ 107 h 145"/>
                <a:gd name="T24" fmla="*/ 267 w 273"/>
                <a:gd name="T25" fmla="*/ 117 h 145"/>
                <a:gd name="T26" fmla="*/ 273 w 273"/>
                <a:gd name="T27" fmla="*/ 87 h 145"/>
                <a:gd name="T28" fmla="*/ 183 w 273"/>
                <a:gd name="T29" fmla="*/ 28 h 145"/>
                <a:gd name="T30" fmla="*/ 124 w 273"/>
                <a:gd name="T31" fmla="*/ 6 h 145"/>
                <a:gd name="T32" fmla="*/ 63 w 273"/>
                <a:gd name="T3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3" h="145">
                  <a:moveTo>
                    <a:pt x="63" y="0"/>
                  </a:moveTo>
                  <a:lnTo>
                    <a:pt x="35" y="30"/>
                  </a:lnTo>
                  <a:lnTo>
                    <a:pt x="67" y="43"/>
                  </a:lnTo>
                  <a:lnTo>
                    <a:pt x="72" y="83"/>
                  </a:lnTo>
                  <a:lnTo>
                    <a:pt x="0" y="91"/>
                  </a:lnTo>
                  <a:lnTo>
                    <a:pt x="7" y="129"/>
                  </a:lnTo>
                  <a:lnTo>
                    <a:pt x="28" y="131"/>
                  </a:lnTo>
                  <a:lnTo>
                    <a:pt x="41" y="113"/>
                  </a:lnTo>
                  <a:lnTo>
                    <a:pt x="125" y="116"/>
                  </a:lnTo>
                  <a:lnTo>
                    <a:pt x="140" y="145"/>
                  </a:lnTo>
                  <a:lnTo>
                    <a:pt x="159" y="122"/>
                  </a:lnTo>
                  <a:lnTo>
                    <a:pt x="216" y="107"/>
                  </a:lnTo>
                  <a:lnTo>
                    <a:pt x="267" y="117"/>
                  </a:lnTo>
                  <a:lnTo>
                    <a:pt x="273" y="87"/>
                  </a:lnTo>
                  <a:lnTo>
                    <a:pt x="183" y="28"/>
                  </a:lnTo>
                  <a:lnTo>
                    <a:pt x="124" y="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80"/>
            <p:cNvSpPr>
              <a:spLocks/>
            </p:cNvSpPr>
            <p:nvPr/>
          </p:nvSpPr>
          <p:spPr bwMode="auto">
            <a:xfrm>
              <a:off x="2495550" y="3033713"/>
              <a:ext cx="77788" cy="68263"/>
            </a:xfrm>
            <a:custGeom>
              <a:avLst/>
              <a:gdLst>
                <a:gd name="T0" fmla="*/ 148 w 148"/>
                <a:gd name="T1" fmla="*/ 74 h 131"/>
                <a:gd name="T2" fmla="*/ 58 w 148"/>
                <a:gd name="T3" fmla="*/ 15 h 131"/>
                <a:gd name="T4" fmla="*/ 14 w 148"/>
                <a:gd name="T5" fmla="*/ 0 h 131"/>
                <a:gd name="T6" fmla="*/ 0 w 148"/>
                <a:gd name="T7" fmla="*/ 103 h 131"/>
                <a:gd name="T8" fmla="*/ 15 w 148"/>
                <a:gd name="T9" fmla="*/ 131 h 131"/>
                <a:gd name="T10" fmla="*/ 34 w 148"/>
                <a:gd name="T11" fmla="*/ 109 h 131"/>
                <a:gd name="T12" fmla="*/ 92 w 148"/>
                <a:gd name="T13" fmla="*/ 94 h 131"/>
                <a:gd name="T14" fmla="*/ 142 w 148"/>
                <a:gd name="T15" fmla="*/ 104 h 131"/>
                <a:gd name="T16" fmla="*/ 148 w 148"/>
                <a:gd name="T17" fmla="*/ 7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131">
                  <a:moveTo>
                    <a:pt x="148" y="74"/>
                  </a:moveTo>
                  <a:lnTo>
                    <a:pt x="58" y="15"/>
                  </a:lnTo>
                  <a:lnTo>
                    <a:pt x="14" y="0"/>
                  </a:lnTo>
                  <a:lnTo>
                    <a:pt x="0" y="103"/>
                  </a:lnTo>
                  <a:lnTo>
                    <a:pt x="15" y="131"/>
                  </a:lnTo>
                  <a:lnTo>
                    <a:pt x="34" y="109"/>
                  </a:lnTo>
                  <a:lnTo>
                    <a:pt x="92" y="94"/>
                  </a:lnTo>
                  <a:lnTo>
                    <a:pt x="142" y="104"/>
                  </a:lnTo>
                  <a:lnTo>
                    <a:pt x="14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81"/>
            <p:cNvSpPr>
              <a:spLocks/>
            </p:cNvSpPr>
            <p:nvPr/>
          </p:nvSpPr>
          <p:spPr bwMode="auto">
            <a:xfrm>
              <a:off x="2428875" y="3025775"/>
              <a:ext cx="65088" cy="69850"/>
            </a:xfrm>
            <a:custGeom>
              <a:avLst/>
              <a:gdLst>
                <a:gd name="T0" fmla="*/ 63 w 122"/>
                <a:gd name="T1" fmla="*/ 0 h 131"/>
                <a:gd name="T2" fmla="*/ 122 w 122"/>
                <a:gd name="T3" fmla="*/ 6 h 131"/>
                <a:gd name="T4" fmla="*/ 115 w 122"/>
                <a:gd name="T5" fmla="*/ 78 h 131"/>
                <a:gd name="T6" fmla="*/ 109 w 122"/>
                <a:gd name="T7" fmla="*/ 117 h 131"/>
                <a:gd name="T8" fmla="*/ 41 w 122"/>
                <a:gd name="T9" fmla="*/ 113 h 131"/>
                <a:gd name="T10" fmla="*/ 28 w 122"/>
                <a:gd name="T11" fmla="*/ 131 h 131"/>
                <a:gd name="T12" fmla="*/ 7 w 122"/>
                <a:gd name="T13" fmla="*/ 130 h 131"/>
                <a:gd name="T14" fmla="*/ 0 w 122"/>
                <a:gd name="T15" fmla="*/ 91 h 131"/>
                <a:gd name="T16" fmla="*/ 72 w 122"/>
                <a:gd name="T17" fmla="*/ 84 h 131"/>
                <a:gd name="T18" fmla="*/ 68 w 122"/>
                <a:gd name="T19" fmla="*/ 43 h 131"/>
                <a:gd name="T20" fmla="*/ 35 w 122"/>
                <a:gd name="T21" fmla="*/ 30 h 131"/>
                <a:gd name="T22" fmla="*/ 63 w 122"/>
                <a:gd name="T2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2" h="131">
                  <a:moveTo>
                    <a:pt x="63" y="0"/>
                  </a:moveTo>
                  <a:lnTo>
                    <a:pt x="122" y="6"/>
                  </a:lnTo>
                  <a:lnTo>
                    <a:pt x="115" y="78"/>
                  </a:lnTo>
                  <a:lnTo>
                    <a:pt x="109" y="117"/>
                  </a:lnTo>
                  <a:lnTo>
                    <a:pt x="41" y="113"/>
                  </a:lnTo>
                  <a:lnTo>
                    <a:pt x="28" y="131"/>
                  </a:lnTo>
                  <a:lnTo>
                    <a:pt x="7" y="130"/>
                  </a:lnTo>
                  <a:lnTo>
                    <a:pt x="0" y="91"/>
                  </a:lnTo>
                  <a:lnTo>
                    <a:pt x="72" y="84"/>
                  </a:lnTo>
                  <a:lnTo>
                    <a:pt x="68" y="43"/>
                  </a:lnTo>
                  <a:lnTo>
                    <a:pt x="35" y="3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82"/>
            <p:cNvSpPr>
              <a:spLocks/>
            </p:cNvSpPr>
            <p:nvPr/>
          </p:nvSpPr>
          <p:spPr bwMode="auto">
            <a:xfrm>
              <a:off x="2932113" y="5133975"/>
              <a:ext cx="47625" cy="34925"/>
            </a:xfrm>
            <a:custGeom>
              <a:avLst/>
              <a:gdLst>
                <a:gd name="T0" fmla="*/ 89 w 89"/>
                <a:gd name="T1" fmla="*/ 5 h 65"/>
                <a:gd name="T2" fmla="*/ 45 w 89"/>
                <a:gd name="T3" fmla="*/ 0 h 65"/>
                <a:gd name="T4" fmla="*/ 0 w 89"/>
                <a:gd name="T5" fmla="*/ 30 h 65"/>
                <a:gd name="T6" fmla="*/ 32 w 89"/>
                <a:gd name="T7" fmla="*/ 65 h 65"/>
                <a:gd name="T8" fmla="*/ 89 w 89"/>
                <a:gd name="T9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65">
                  <a:moveTo>
                    <a:pt x="89" y="5"/>
                  </a:moveTo>
                  <a:lnTo>
                    <a:pt x="45" y="0"/>
                  </a:lnTo>
                  <a:lnTo>
                    <a:pt x="0" y="30"/>
                  </a:lnTo>
                  <a:lnTo>
                    <a:pt x="32" y="65"/>
                  </a:lnTo>
                  <a:lnTo>
                    <a:pt x="8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83"/>
            <p:cNvSpPr>
              <a:spLocks/>
            </p:cNvSpPr>
            <p:nvPr/>
          </p:nvSpPr>
          <p:spPr bwMode="auto">
            <a:xfrm>
              <a:off x="2973388" y="5124450"/>
              <a:ext cx="55563" cy="52388"/>
            </a:xfrm>
            <a:custGeom>
              <a:avLst/>
              <a:gdLst>
                <a:gd name="T0" fmla="*/ 58 w 105"/>
                <a:gd name="T1" fmla="*/ 0 h 98"/>
                <a:gd name="T2" fmla="*/ 43 w 105"/>
                <a:gd name="T3" fmla="*/ 48 h 98"/>
                <a:gd name="T4" fmla="*/ 0 w 105"/>
                <a:gd name="T5" fmla="*/ 86 h 98"/>
                <a:gd name="T6" fmla="*/ 3 w 105"/>
                <a:gd name="T7" fmla="*/ 98 h 98"/>
                <a:gd name="T8" fmla="*/ 75 w 105"/>
                <a:gd name="T9" fmla="*/ 70 h 98"/>
                <a:gd name="T10" fmla="*/ 105 w 105"/>
                <a:gd name="T11" fmla="*/ 33 h 98"/>
                <a:gd name="T12" fmla="*/ 58 w 105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98">
                  <a:moveTo>
                    <a:pt x="58" y="0"/>
                  </a:moveTo>
                  <a:lnTo>
                    <a:pt x="43" y="48"/>
                  </a:lnTo>
                  <a:lnTo>
                    <a:pt x="0" y="86"/>
                  </a:lnTo>
                  <a:lnTo>
                    <a:pt x="3" y="98"/>
                  </a:lnTo>
                  <a:lnTo>
                    <a:pt x="75" y="70"/>
                  </a:lnTo>
                  <a:lnTo>
                    <a:pt x="105" y="33"/>
                  </a:lnTo>
                  <a:lnTo>
                    <a:pt x="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84"/>
            <p:cNvSpPr>
              <a:spLocks/>
            </p:cNvSpPr>
            <p:nvPr/>
          </p:nvSpPr>
          <p:spPr bwMode="auto">
            <a:xfrm>
              <a:off x="3810000" y="1584325"/>
              <a:ext cx="209550" cy="134938"/>
            </a:xfrm>
            <a:custGeom>
              <a:avLst/>
              <a:gdLst>
                <a:gd name="T0" fmla="*/ 118 w 397"/>
                <a:gd name="T1" fmla="*/ 19 h 256"/>
                <a:gd name="T2" fmla="*/ 85 w 397"/>
                <a:gd name="T3" fmla="*/ 0 h 256"/>
                <a:gd name="T4" fmla="*/ 39 w 397"/>
                <a:gd name="T5" fmla="*/ 28 h 256"/>
                <a:gd name="T6" fmla="*/ 0 w 397"/>
                <a:gd name="T7" fmla="*/ 65 h 256"/>
                <a:gd name="T8" fmla="*/ 1 w 397"/>
                <a:gd name="T9" fmla="*/ 85 h 256"/>
                <a:gd name="T10" fmla="*/ 52 w 397"/>
                <a:gd name="T11" fmla="*/ 91 h 256"/>
                <a:gd name="T12" fmla="*/ 49 w 397"/>
                <a:gd name="T13" fmla="*/ 126 h 256"/>
                <a:gd name="T14" fmla="*/ 31 w 397"/>
                <a:gd name="T15" fmla="*/ 145 h 256"/>
                <a:gd name="T16" fmla="*/ 35 w 397"/>
                <a:gd name="T17" fmla="*/ 156 h 256"/>
                <a:gd name="T18" fmla="*/ 86 w 397"/>
                <a:gd name="T19" fmla="*/ 160 h 256"/>
                <a:gd name="T20" fmla="*/ 86 w 397"/>
                <a:gd name="T21" fmla="*/ 218 h 256"/>
                <a:gd name="T22" fmla="*/ 158 w 397"/>
                <a:gd name="T23" fmla="*/ 230 h 256"/>
                <a:gd name="T24" fmla="*/ 201 w 397"/>
                <a:gd name="T25" fmla="*/ 254 h 256"/>
                <a:gd name="T26" fmla="*/ 249 w 397"/>
                <a:gd name="T27" fmla="*/ 256 h 256"/>
                <a:gd name="T28" fmla="*/ 332 w 397"/>
                <a:gd name="T29" fmla="*/ 216 h 256"/>
                <a:gd name="T30" fmla="*/ 396 w 397"/>
                <a:gd name="T31" fmla="*/ 131 h 256"/>
                <a:gd name="T32" fmla="*/ 397 w 397"/>
                <a:gd name="T33" fmla="*/ 74 h 256"/>
                <a:gd name="T34" fmla="*/ 359 w 397"/>
                <a:gd name="T35" fmla="*/ 41 h 256"/>
                <a:gd name="T36" fmla="*/ 326 w 397"/>
                <a:gd name="T37" fmla="*/ 14 h 256"/>
                <a:gd name="T38" fmla="*/ 311 w 397"/>
                <a:gd name="T39" fmla="*/ 24 h 256"/>
                <a:gd name="T40" fmla="*/ 289 w 397"/>
                <a:gd name="T41" fmla="*/ 52 h 256"/>
                <a:gd name="T42" fmla="*/ 263 w 397"/>
                <a:gd name="T43" fmla="*/ 49 h 256"/>
                <a:gd name="T44" fmla="*/ 239 w 397"/>
                <a:gd name="T45" fmla="*/ 22 h 256"/>
                <a:gd name="T46" fmla="*/ 206 w 397"/>
                <a:gd name="T47" fmla="*/ 25 h 256"/>
                <a:gd name="T48" fmla="*/ 159 w 397"/>
                <a:gd name="T49" fmla="*/ 64 h 256"/>
                <a:gd name="T50" fmla="*/ 130 w 397"/>
                <a:gd name="T51" fmla="*/ 95 h 256"/>
                <a:gd name="T52" fmla="*/ 114 w 397"/>
                <a:gd name="T53" fmla="*/ 81 h 256"/>
                <a:gd name="T54" fmla="*/ 113 w 397"/>
                <a:gd name="T55" fmla="*/ 47 h 256"/>
                <a:gd name="T56" fmla="*/ 129 w 397"/>
                <a:gd name="T57" fmla="*/ 36 h 256"/>
                <a:gd name="T58" fmla="*/ 118 w 397"/>
                <a:gd name="T59" fmla="*/ 1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7" h="256">
                  <a:moveTo>
                    <a:pt x="118" y="19"/>
                  </a:moveTo>
                  <a:lnTo>
                    <a:pt x="85" y="0"/>
                  </a:lnTo>
                  <a:lnTo>
                    <a:pt x="39" y="28"/>
                  </a:lnTo>
                  <a:lnTo>
                    <a:pt x="0" y="65"/>
                  </a:lnTo>
                  <a:lnTo>
                    <a:pt x="1" y="85"/>
                  </a:lnTo>
                  <a:lnTo>
                    <a:pt x="52" y="91"/>
                  </a:lnTo>
                  <a:lnTo>
                    <a:pt x="49" y="126"/>
                  </a:lnTo>
                  <a:lnTo>
                    <a:pt x="31" y="145"/>
                  </a:lnTo>
                  <a:lnTo>
                    <a:pt x="35" y="156"/>
                  </a:lnTo>
                  <a:lnTo>
                    <a:pt x="86" y="160"/>
                  </a:lnTo>
                  <a:lnTo>
                    <a:pt x="86" y="218"/>
                  </a:lnTo>
                  <a:lnTo>
                    <a:pt x="158" y="230"/>
                  </a:lnTo>
                  <a:lnTo>
                    <a:pt x="201" y="254"/>
                  </a:lnTo>
                  <a:lnTo>
                    <a:pt x="249" y="256"/>
                  </a:lnTo>
                  <a:lnTo>
                    <a:pt x="332" y="216"/>
                  </a:lnTo>
                  <a:lnTo>
                    <a:pt x="396" y="131"/>
                  </a:lnTo>
                  <a:lnTo>
                    <a:pt x="397" y="74"/>
                  </a:lnTo>
                  <a:lnTo>
                    <a:pt x="359" y="41"/>
                  </a:lnTo>
                  <a:lnTo>
                    <a:pt x="326" y="14"/>
                  </a:lnTo>
                  <a:lnTo>
                    <a:pt x="311" y="24"/>
                  </a:lnTo>
                  <a:lnTo>
                    <a:pt x="289" y="52"/>
                  </a:lnTo>
                  <a:lnTo>
                    <a:pt x="263" y="49"/>
                  </a:lnTo>
                  <a:lnTo>
                    <a:pt x="239" y="22"/>
                  </a:lnTo>
                  <a:lnTo>
                    <a:pt x="206" y="25"/>
                  </a:lnTo>
                  <a:lnTo>
                    <a:pt x="159" y="64"/>
                  </a:lnTo>
                  <a:lnTo>
                    <a:pt x="130" y="95"/>
                  </a:lnTo>
                  <a:lnTo>
                    <a:pt x="114" y="81"/>
                  </a:lnTo>
                  <a:lnTo>
                    <a:pt x="113" y="47"/>
                  </a:lnTo>
                  <a:lnTo>
                    <a:pt x="129" y="36"/>
                  </a:lnTo>
                  <a:lnTo>
                    <a:pt x="11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85"/>
            <p:cNvSpPr>
              <a:spLocks/>
            </p:cNvSpPr>
            <p:nvPr/>
          </p:nvSpPr>
          <p:spPr bwMode="auto">
            <a:xfrm>
              <a:off x="4495800" y="1004888"/>
              <a:ext cx="157163" cy="142875"/>
            </a:xfrm>
            <a:custGeom>
              <a:avLst/>
              <a:gdLst>
                <a:gd name="T0" fmla="*/ 225 w 299"/>
                <a:gd name="T1" fmla="*/ 29 h 271"/>
                <a:gd name="T2" fmla="*/ 196 w 299"/>
                <a:gd name="T3" fmla="*/ 0 h 271"/>
                <a:gd name="T4" fmla="*/ 133 w 299"/>
                <a:gd name="T5" fmla="*/ 31 h 271"/>
                <a:gd name="T6" fmla="*/ 19 w 299"/>
                <a:gd name="T7" fmla="*/ 31 h 271"/>
                <a:gd name="T8" fmla="*/ 0 w 299"/>
                <a:gd name="T9" fmla="*/ 98 h 271"/>
                <a:gd name="T10" fmla="*/ 65 w 299"/>
                <a:gd name="T11" fmla="*/ 155 h 271"/>
                <a:gd name="T12" fmla="*/ 93 w 299"/>
                <a:gd name="T13" fmla="*/ 151 h 271"/>
                <a:gd name="T14" fmla="*/ 133 w 299"/>
                <a:gd name="T15" fmla="*/ 81 h 271"/>
                <a:gd name="T16" fmla="*/ 168 w 299"/>
                <a:gd name="T17" fmla="*/ 106 h 271"/>
                <a:gd name="T18" fmla="*/ 144 w 299"/>
                <a:gd name="T19" fmla="*/ 155 h 271"/>
                <a:gd name="T20" fmla="*/ 131 w 299"/>
                <a:gd name="T21" fmla="*/ 227 h 271"/>
                <a:gd name="T22" fmla="*/ 160 w 299"/>
                <a:gd name="T23" fmla="*/ 271 h 271"/>
                <a:gd name="T24" fmla="*/ 221 w 299"/>
                <a:gd name="T25" fmla="*/ 169 h 271"/>
                <a:gd name="T26" fmla="*/ 299 w 299"/>
                <a:gd name="T27" fmla="*/ 73 h 271"/>
                <a:gd name="T28" fmla="*/ 268 w 299"/>
                <a:gd name="T29" fmla="*/ 47 h 271"/>
                <a:gd name="T30" fmla="*/ 225 w 299"/>
                <a:gd name="T31" fmla="*/ 29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9" h="271">
                  <a:moveTo>
                    <a:pt x="225" y="29"/>
                  </a:moveTo>
                  <a:lnTo>
                    <a:pt x="196" y="0"/>
                  </a:lnTo>
                  <a:lnTo>
                    <a:pt x="133" y="31"/>
                  </a:lnTo>
                  <a:lnTo>
                    <a:pt x="19" y="31"/>
                  </a:lnTo>
                  <a:lnTo>
                    <a:pt x="0" y="98"/>
                  </a:lnTo>
                  <a:lnTo>
                    <a:pt x="65" y="155"/>
                  </a:lnTo>
                  <a:lnTo>
                    <a:pt x="93" y="151"/>
                  </a:lnTo>
                  <a:lnTo>
                    <a:pt x="133" y="81"/>
                  </a:lnTo>
                  <a:lnTo>
                    <a:pt x="168" y="106"/>
                  </a:lnTo>
                  <a:lnTo>
                    <a:pt x="144" y="155"/>
                  </a:lnTo>
                  <a:lnTo>
                    <a:pt x="131" y="227"/>
                  </a:lnTo>
                  <a:lnTo>
                    <a:pt x="160" y="271"/>
                  </a:lnTo>
                  <a:lnTo>
                    <a:pt x="221" y="169"/>
                  </a:lnTo>
                  <a:lnTo>
                    <a:pt x="299" y="73"/>
                  </a:lnTo>
                  <a:lnTo>
                    <a:pt x="268" y="47"/>
                  </a:lnTo>
                  <a:lnTo>
                    <a:pt x="22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86"/>
            <p:cNvSpPr>
              <a:spLocks/>
            </p:cNvSpPr>
            <p:nvPr/>
          </p:nvSpPr>
          <p:spPr bwMode="auto">
            <a:xfrm>
              <a:off x="4605338" y="954088"/>
              <a:ext cx="160338" cy="84138"/>
            </a:xfrm>
            <a:custGeom>
              <a:avLst/>
              <a:gdLst>
                <a:gd name="T0" fmla="*/ 49 w 302"/>
                <a:gd name="T1" fmla="*/ 2 h 160"/>
                <a:gd name="T2" fmla="*/ 0 w 302"/>
                <a:gd name="T3" fmla="*/ 49 h 160"/>
                <a:gd name="T4" fmla="*/ 30 w 302"/>
                <a:gd name="T5" fmla="*/ 95 h 160"/>
                <a:gd name="T6" fmla="*/ 84 w 302"/>
                <a:gd name="T7" fmla="*/ 95 h 160"/>
                <a:gd name="T8" fmla="*/ 106 w 302"/>
                <a:gd name="T9" fmla="*/ 126 h 160"/>
                <a:gd name="T10" fmla="*/ 173 w 302"/>
                <a:gd name="T11" fmla="*/ 160 h 160"/>
                <a:gd name="T12" fmla="*/ 249 w 302"/>
                <a:gd name="T13" fmla="*/ 116 h 160"/>
                <a:gd name="T14" fmla="*/ 302 w 302"/>
                <a:gd name="T15" fmla="*/ 71 h 160"/>
                <a:gd name="T16" fmla="*/ 284 w 302"/>
                <a:gd name="T17" fmla="*/ 34 h 160"/>
                <a:gd name="T18" fmla="*/ 232 w 302"/>
                <a:gd name="T19" fmla="*/ 4 h 160"/>
                <a:gd name="T20" fmla="*/ 193 w 302"/>
                <a:gd name="T21" fmla="*/ 38 h 160"/>
                <a:gd name="T22" fmla="*/ 167 w 302"/>
                <a:gd name="T23" fmla="*/ 6 h 160"/>
                <a:gd name="T24" fmla="*/ 147 w 302"/>
                <a:gd name="T25" fmla="*/ 8 h 160"/>
                <a:gd name="T26" fmla="*/ 120 w 302"/>
                <a:gd name="T27" fmla="*/ 65 h 160"/>
                <a:gd name="T28" fmla="*/ 82 w 302"/>
                <a:gd name="T29" fmla="*/ 26 h 160"/>
                <a:gd name="T30" fmla="*/ 78 w 302"/>
                <a:gd name="T31" fmla="*/ 0 h 160"/>
                <a:gd name="T32" fmla="*/ 49 w 302"/>
                <a:gd name="T33" fmla="*/ 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2" h="160">
                  <a:moveTo>
                    <a:pt x="49" y="2"/>
                  </a:moveTo>
                  <a:lnTo>
                    <a:pt x="0" y="49"/>
                  </a:lnTo>
                  <a:lnTo>
                    <a:pt x="30" y="95"/>
                  </a:lnTo>
                  <a:lnTo>
                    <a:pt x="84" y="95"/>
                  </a:lnTo>
                  <a:lnTo>
                    <a:pt x="106" y="126"/>
                  </a:lnTo>
                  <a:lnTo>
                    <a:pt x="173" y="160"/>
                  </a:lnTo>
                  <a:lnTo>
                    <a:pt x="249" y="116"/>
                  </a:lnTo>
                  <a:lnTo>
                    <a:pt x="302" y="71"/>
                  </a:lnTo>
                  <a:lnTo>
                    <a:pt x="284" y="34"/>
                  </a:lnTo>
                  <a:lnTo>
                    <a:pt x="232" y="4"/>
                  </a:lnTo>
                  <a:lnTo>
                    <a:pt x="193" y="38"/>
                  </a:lnTo>
                  <a:lnTo>
                    <a:pt x="167" y="6"/>
                  </a:lnTo>
                  <a:lnTo>
                    <a:pt x="147" y="8"/>
                  </a:lnTo>
                  <a:lnTo>
                    <a:pt x="120" y="65"/>
                  </a:lnTo>
                  <a:lnTo>
                    <a:pt x="82" y="26"/>
                  </a:lnTo>
                  <a:lnTo>
                    <a:pt x="78" y="0"/>
                  </a:lnTo>
                  <a:lnTo>
                    <a:pt x="4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87"/>
            <p:cNvSpPr>
              <a:spLocks/>
            </p:cNvSpPr>
            <p:nvPr/>
          </p:nvSpPr>
          <p:spPr bwMode="auto">
            <a:xfrm>
              <a:off x="4652963" y="1065213"/>
              <a:ext cx="66675" cy="53975"/>
            </a:xfrm>
            <a:custGeom>
              <a:avLst/>
              <a:gdLst>
                <a:gd name="T0" fmla="*/ 75 w 126"/>
                <a:gd name="T1" fmla="*/ 0 h 102"/>
                <a:gd name="T2" fmla="*/ 34 w 126"/>
                <a:gd name="T3" fmla="*/ 37 h 102"/>
                <a:gd name="T4" fmla="*/ 0 w 126"/>
                <a:gd name="T5" fmla="*/ 63 h 102"/>
                <a:gd name="T6" fmla="*/ 16 w 126"/>
                <a:gd name="T7" fmla="*/ 91 h 102"/>
                <a:gd name="T8" fmla="*/ 49 w 126"/>
                <a:gd name="T9" fmla="*/ 102 h 102"/>
                <a:gd name="T10" fmla="*/ 101 w 126"/>
                <a:gd name="T11" fmla="*/ 77 h 102"/>
                <a:gd name="T12" fmla="*/ 126 w 126"/>
                <a:gd name="T13" fmla="*/ 47 h 102"/>
                <a:gd name="T14" fmla="*/ 103 w 126"/>
                <a:gd name="T15" fmla="*/ 10 h 102"/>
                <a:gd name="T16" fmla="*/ 75 w 126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102">
                  <a:moveTo>
                    <a:pt x="75" y="0"/>
                  </a:moveTo>
                  <a:lnTo>
                    <a:pt x="34" y="37"/>
                  </a:lnTo>
                  <a:lnTo>
                    <a:pt x="0" y="63"/>
                  </a:lnTo>
                  <a:lnTo>
                    <a:pt x="16" y="91"/>
                  </a:lnTo>
                  <a:lnTo>
                    <a:pt x="49" y="102"/>
                  </a:lnTo>
                  <a:lnTo>
                    <a:pt x="101" y="77"/>
                  </a:lnTo>
                  <a:lnTo>
                    <a:pt x="126" y="47"/>
                  </a:lnTo>
                  <a:lnTo>
                    <a:pt x="103" y="1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88"/>
            <p:cNvSpPr>
              <a:spLocks/>
            </p:cNvSpPr>
            <p:nvPr/>
          </p:nvSpPr>
          <p:spPr bwMode="auto">
            <a:xfrm>
              <a:off x="5095875" y="882650"/>
              <a:ext cx="73025" cy="65088"/>
            </a:xfrm>
            <a:custGeom>
              <a:avLst/>
              <a:gdLst>
                <a:gd name="T0" fmla="*/ 110 w 139"/>
                <a:gd name="T1" fmla="*/ 0 h 125"/>
                <a:gd name="T2" fmla="*/ 139 w 139"/>
                <a:gd name="T3" fmla="*/ 12 h 125"/>
                <a:gd name="T4" fmla="*/ 118 w 139"/>
                <a:gd name="T5" fmla="*/ 48 h 125"/>
                <a:gd name="T6" fmla="*/ 118 w 139"/>
                <a:gd name="T7" fmla="*/ 98 h 125"/>
                <a:gd name="T8" fmla="*/ 74 w 139"/>
                <a:gd name="T9" fmla="*/ 125 h 125"/>
                <a:gd name="T10" fmla="*/ 27 w 139"/>
                <a:gd name="T11" fmla="*/ 125 h 125"/>
                <a:gd name="T12" fmla="*/ 0 w 139"/>
                <a:gd name="T13" fmla="*/ 92 h 125"/>
                <a:gd name="T14" fmla="*/ 3 w 139"/>
                <a:gd name="T15" fmla="*/ 57 h 125"/>
                <a:gd name="T16" fmla="*/ 25 w 139"/>
                <a:gd name="T17" fmla="*/ 29 h 125"/>
                <a:gd name="T18" fmla="*/ 65 w 139"/>
                <a:gd name="T19" fmla="*/ 29 h 125"/>
                <a:gd name="T20" fmla="*/ 110 w 139"/>
                <a:gd name="T2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125">
                  <a:moveTo>
                    <a:pt x="110" y="0"/>
                  </a:moveTo>
                  <a:lnTo>
                    <a:pt x="139" y="12"/>
                  </a:lnTo>
                  <a:lnTo>
                    <a:pt x="118" y="48"/>
                  </a:lnTo>
                  <a:lnTo>
                    <a:pt x="118" y="98"/>
                  </a:lnTo>
                  <a:lnTo>
                    <a:pt x="74" y="125"/>
                  </a:lnTo>
                  <a:lnTo>
                    <a:pt x="27" y="125"/>
                  </a:lnTo>
                  <a:lnTo>
                    <a:pt x="0" y="92"/>
                  </a:lnTo>
                  <a:lnTo>
                    <a:pt x="3" y="57"/>
                  </a:lnTo>
                  <a:lnTo>
                    <a:pt x="25" y="29"/>
                  </a:lnTo>
                  <a:lnTo>
                    <a:pt x="65" y="29"/>
                  </a:lnTo>
                  <a:lnTo>
                    <a:pt x="1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89"/>
            <p:cNvSpPr>
              <a:spLocks/>
            </p:cNvSpPr>
            <p:nvPr/>
          </p:nvSpPr>
          <p:spPr bwMode="auto">
            <a:xfrm>
              <a:off x="5213350" y="857250"/>
              <a:ext cx="55563" cy="38100"/>
            </a:xfrm>
            <a:custGeom>
              <a:avLst/>
              <a:gdLst>
                <a:gd name="T0" fmla="*/ 0 w 107"/>
                <a:gd name="T1" fmla="*/ 15 h 74"/>
                <a:gd name="T2" fmla="*/ 0 w 107"/>
                <a:gd name="T3" fmla="*/ 51 h 74"/>
                <a:gd name="T4" fmla="*/ 30 w 107"/>
                <a:gd name="T5" fmla="*/ 74 h 74"/>
                <a:gd name="T6" fmla="*/ 71 w 107"/>
                <a:gd name="T7" fmla="*/ 72 h 74"/>
                <a:gd name="T8" fmla="*/ 107 w 107"/>
                <a:gd name="T9" fmla="*/ 39 h 74"/>
                <a:gd name="T10" fmla="*/ 107 w 107"/>
                <a:gd name="T11" fmla="*/ 15 h 74"/>
                <a:gd name="T12" fmla="*/ 75 w 107"/>
                <a:gd name="T13" fmla="*/ 15 h 74"/>
                <a:gd name="T14" fmla="*/ 48 w 107"/>
                <a:gd name="T15" fmla="*/ 24 h 74"/>
                <a:gd name="T16" fmla="*/ 27 w 107"/>
                <a:gd name="T17" fmla="*/ 0 h 74"/>
                <a:gd name="T18" fmla="*/ 0 w 107"/>
                <a:gd name="T19" fmla="*/ 1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74">
                  <a:moveTo>
                    <a:pt x="0" y="15"/>
                  </a:moveTo>
                  <a:lnTo>
                    <a:pt x="0" y="51"/>
                  </a:lnTo>
                  <a:lnTo>
                    <a:pt x="30" y="74"/>
                  </a:lnTo>
                  <a:lnTo>
                    <a:pt x="71" y="72"/>
                  </a:lnTo>
                  <a:lnTo>
                    <a:pt x="107" y="39"/>
                  </a:lnTo>
                  <a:lnTo>
                    <a:pt x="107" y="15"/>
                  </a:lnTo>
                  <a:lnTo>
                    <a:pt x="75" y="15"/>
                  </a:lnTo>
                  <a:lnTo>
                    <a:pt x="48" y="24"/>
                  </a:lnTo>
                  <a:lnTo>
                    <a:pt x="2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90"/>
            <p:cNvSpPr>
              <a:spLocks/>
            </p:cNvSpPr>
            <p:nvPr/>
          </p:nvSpPr>
          <p:spPr bwMode="auto">
            <a:xfrm>
              <a:off x="5302250" y="858838"/>
              <a:ext cx="47625" cy="33338"/>
            </a:xfrm>
            <a:custGeom>
              <a:avLst/>
              <a:gdLst>
                <a:gd name="T0" fmla="*/ 0 w 91"/>
                <a:gd name="T1" fmla="*/ 15 h 63"/>
                <a:gd name="T2" fmla="*/ 20 w 91"/>
                <a:gd name="T3" fmla="*/ 60 h 63"/>
                <a:gd name="T4" fmla="*/ 62 w 91"/>
                <a:gd name="T5" fmla="*/ 63 h 63"/>
                <a:gd name="T6" fmla="*/ 91 w 91"/>
                <a:gd name="T7" fmla="*/ 51 h 63"/>
                <a:gd name="T8" fmla="*/ 76 w 91"/>
                <a:gd name="T9" fmla="*/ 9 h 63"/>
                <a:gd name="T10" fmla="*/ 38 w 91"/>
                <a:gd name="T11" fmla="*/ 0 h 63"/>
                <a:gd name="T12" fmla="*/ 0 w 91"/>
                <a:gd name="T13" fmla="*/ 1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63">
                  <a:moveTo>
                    <a:pt x="0" y="15"/>
                  </a:moveTo>
                  <a:lnTo>
                    <a:pt x="20" y="60"/>
                  </a:lnTo>
                  <a:lnTo>
                    <a:pt x="62" y="63"/>
                  </a:lnTo>
                  <a:lnTo>
                    <a:pt x="91" y="51"/>
                  </a:lnTo>
                  <a:lnTo>
                    <a:pt x="76" y="9"/>
                  </a:lnTo>
                  <a:lnTo>
                    <a:pt x="38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91"/>
            <p:cNvSpPr>
              <a:spLocks/>
            </p:cNvSpPr>
            <p:nvPr/>
          </p:nvSpPr>
          <p:spPr bwMode="auto">
            <a:xfrm>
              <a:off x="5357813" y="831850"/>
              <a:ext cx="38100" cy="52388"/>
            </a:xfrm>
            <a:custGeom>
              <a:avLst/>
              <a:gdLst>
                <a:gd name="T0" fmla="*/ 62 w 72"/>
                <a:gd name="T1" fmla="*/ 6 h 99"/>
                <a:gd name="T2" fmla="*/ 30 w 72"/>
                <a:gd name="T3" fmla="*/ 0 h 99"/>
                <a:gd name="T4" fmla="*/ 0 w 72"/>
                <a:gd name="T5" fmla="*/ 31 h 99"/>
                <a:gd name="T6" fmla="*/ 16 w 72"/>
                <a:gd name="T7" fmla="*/ 57 h 99"/>
                <a:gd name="T8" fmla="*/ 25 w 72"/>
                <a:gd name="T9" fmla="*/ 99 h 99"/>
                <a:gd name="T10" fmla="*/ 62 w 72"/>
                <a:gd name="T11" fmla="*/ 69 h 99"/>
                <a:gd name="T12" fmla="*/ 72 w 72"/>
                <a:gd name="T13" fmla="*/ 37 h 99"/>
                <a:gd name="T14" fmla="*/ 62 w 72"/>
                <a:gd name="T15" fmla="*/ 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9">
                  <a:moveTo>
                    <a:pt x="62" y="6"/>
                  </a:moveTo>
                  <a:lnTo>
                    <a:pt x="30" y="0"/>
                  </a:lnTo>
                  <a:lnTo>
                    <a:pt x="0" y="31"/>
                  </a:lnTo>
                  <a:lnTo>
                    <a:pt x="16" y="57"/>
                  </a:lnTo>
                  <a:lnTo>
                    <a:pt x="25" y="99"/>
                  </a:lnTo>
                  <a:lnTo>
                    <a:pt x="62" y="69"/>
                  </a:lnTo>
                  <a:lnTo>
                    <a:pt x="72" y="37"/>
                  </a:lnTo>
                  <a:lnTo>
                    <a:pt x="6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92"/>
            <p:cNvSpPr>
              <a:spLocks/>
            </p:cNvSpPr>
            <p:nvPr/>
          </p:nvSpPr>
          <p:spPr bwMode="auto">
            <a:xfrm>
              <a:off x="5295900" y="1001713"/>
              <a:ext cx="223838" cy="220663"/>
            </a:xfrm>
            <a:custGeom>
              <a:avLst/>
              <a:gdLst>
                <a:gd name="T0" fmla="*/ 359 w 424"/>
                <a:gd name="T1" fmla="*/ 0 h 416"/>
                <a:gd name="T2" fmla="*/ 351 w 424"/>
                <a:gd name="T3" fmla="*/ 42 h 416"/>
                <a:gd name="T4" fmla="*/ 283 w 424"/>
                <a:gd name="T5" fmla="*/ 101 h 416"/>
                <a:gd name="T6" fmla="*/ 138 w 424"/>
                <a:gd name="T7" fmla="*/ 133 h 416"/>
                <a:gd name="T8" fmla="*/ 20 w 424"/>
                <a:gd name="T9" fmla="*/ 330 h 416"/>
                <a:gd name="T10" fmla="*/ 0 w 424"/>
                <a:gd name="T11" fmla="*/ 386 h 416"/>
                <a:gd name="T12" fmla="*/ 117 w 424"/>
                <a:gd name="T13" fmla="*/ 416 h 416"/>
                <a:gd name="T14" fmla="*/ 135 w 424"/>
                <a:gd name="T15" fmla="*/ 344 h 416"/>
                <a:gd name="T16" fmla="*/ 170 w 424"/>
                <a:gd name="T17" fmla="*/ 235 h 416"/>
                <a:gd name="T18" fmla="*/ 262 w 424"/>
                <a:gd name="T19" fmla="*/ 187 h 416"/>
                <a:gd name="T20" fmla="*/ 339 w 424"/>
                <a:gd name="T21" fmla="*/ 128 h 416"/>
                <a:gd name="T22" fmla="*/ 395 w 424"/>
                <a:gd name="T23" fmla="*/ 104 h 416"/>
                <a:gd name="T24" fmla="*/ 424 w 424"/>
                <a:gd name="T25" fmla="*/ 104 h 416"/>
                <a:gd name="T26" fmla="*/ 424 w 424"/>
                <a:gd name="T27" fmla="*/ 24 h 416"/>
                <a:gd name="T28" fmla="*/ 359 w 424"/>
                <a:gd name="T29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4" h="416">
                  <a:moveTo>
                    <a:pt x="359" y="0"/>
                  </a:moveTo>
                  <a:lnTo>
                    <a:pt x="351" y="42"/>
                  </a:lnTo>
                  <a:lnTo>
                    <a:pt x="283" y="101"/>
                  </a:lnTo>
                  <a:lnTo>
                    <a:pt x="138" y="133"/>
                  </a:lnTo>
                  <a:lnTo>
                    <a:pt x="20" y="330"/>
                  </a:lnTo>
                  <a:lnTo>
                    <a:pt x="0" y="386"/>
                  </a:lnTo>
                  <a:lnTo>
                    <a:pt x="117" y="416"/>
                  </a:lnTo>
                  <a:lnTo>
                    <a:pt x="135" y="344"/>
                  </a:lnTo>
                  <a:lnTo>
                    <a:pt x="170" y="235"/>
                  </a:lnTo>
                  <a:lnTo>
                    <a:pt x="262" y="187"/>
                  </a:lnTo>
                  <a:lnTo>
                    <a:pt x="339" y="128"/>
                  </a:lnTo>
                  <a:lnTo>
                    <a:pt x="395" y="104"/>
                  </a:lnTo>
                  <a:lnTo>
                    <a:pt x="424" y="104"/>
                  </a:lnTo>
                  <a:lnTo>
                    <a:pt x="424" y="24"/>
                  </a:lnTo>
                  <a:lnTo>
                    <a:pt x="35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93"/>
            <p:cNvSpPr>
              <a:spLocks/>
            </p:cNvSpPr>
            <p:nvPr/>
          </p:nvSpPr>
          <p:spPr bwMode="auto">
            <a:xfrm>
              <a:off x="5257800" y="1231900"/>
              <a:ext cx="119063" cy="115888"/>
            </a:xfrm>
            <a:custGeom>
              <a:avLst/>
              <a:gdLst>
                <a:gd name="T0" fmla="*/ 50 w 224"/>
                <a:gd name="T1" fmla="*/ 0 h 220"/>
                <a:gd name="T2" fmla="*/ 130 w 224"/>
                <a:gd name="T3" fmla="*/ 9 h 220"/>
                <a:gd name="T4" fmla="*/ 156 w 224"/>
                <a:gd name="T5" fmla="*/ 101 h 220"/>
                <a:gd name="T6" fmla="*/ 224 w 224"/>
                <a:gd name="T7" fmla="*/ 172 h 220"/>
                <a:gd name="T8" fmla="*/ 201 w 224"/>
                <a:gd name="T9" fmla="*/ 220 h 220"/>
                <a:gd name="T10" fmla="*/ 159 w 224"/>
                <a:gd name="T11" fmla="*/ 220 h 220"/>
                <a:gd name="T12" fmla="*/ 120 w 224"/>
                <a:gd name="T13" fmla="*/ 175 h 220"/>
                <a:gd name="T14" fmla="*/ 35 w 224"/>
                <a:gd name="T15" fmla="*/ 172 h 220"/>
                <a:gd name="T16" fmla="*/ 0 w 224"/>
                <a:gd name="T17" fmla="*/ 125 h 220"/>
                <a:gd name="T18" fmla="*/ 0 w 224"/>
                <a:gd name="T19" fmla="*/ 92 h 220"/>
                <a:gd name="T20" fmla="*/ 53 w 224"/>
                <a:gd name="T21" fmla="*/ 77 h 220"/>
                <a:gd name="T22" fmla="*/ 50 w 224"/>
                <a:gd name="T2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4" h="220">
                  <a:moveTo>
                    <a:pt x="50" y="0"/>
                  </a:moveTo>
                  <a:lnTo>
                    <a:pt x="130" y="9"/>
                  </a:lnTo>
                  <a:lnTo>
                    <a:pt x="156" y="101"/>
                  </a:lnTo>
                  <a:lnTo>
                    <a:pt x="224" y="172"/>
                  </a:lnTo>
                  <a:lnTo>
                    <a:pt x="201" y="220"/>
                  </a:lnTo>
                  <a:lnTo>
                    <a:pt x="159" y="220"/>
                  </a:lnTo>
                  <a:lnTo>
                    <a:pt x="120" y="175"/>
                  </a:lnTo>
                  <a:lnTo>
                    <a:pt x="35" y="172"/>
                  </a:lnTo>
                  <a:lnTo>
                    <a:pt x="0" y="125"/>
                  </a:lnTo>
                  <a:lnTo>
                    <a:pt x="0" y="92"/>
                  </a:lnTo>
                  <a:lnTo>
                    <a:pt x="53" y="77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94"/>
            <p:cNvSpPr>
              <a:spLocks/>
            </p:cNvSpPr>
            <p:nvPr/>
          </p:nvSpPr>
          <p:spPr bwMode="auto">
            <a:xfrm>
              <a:off x="5848350" y="682625"/>
              <a:ext cx="95250" cy="57150"/>
            </a:xfrm>
            <a:custGeom>
              <a:avLst/>
              <a:gdLst>
                <a:gd name="T0" fmla="*/ 180 w 180"/>
                <a:gd name="T1" fmla="*/ 25 h 108"/>
                <a:gd name="T2" fmla="*/ 141 w 180"/>
                <a:gd name="T3" fmla="*/ 0 h 108"/>
                <a:gd name="T4" fmla="*/ 98 w 180"/>
                <a:gd name="T5" fmla="*/ 0 h 108"/>
                <a:gd name="T6" fmla="*/ 88 w 180"/>
                <a:gd name="T7" fmla="*/ 28 h 108"/>
                <a:gd name="T8" fmla="*/ 41 w 180"/>
                <a:gd name="T9" fmla="*/ 54 h 108"/>
                <a:gd name="T10" fmla="*/ 5 w 180"/>
                <a:gd name="T11" fmla="*/ 66 h 108"/>
                <a:gd name="T12" fmla="*/ 0 w 180"/>
                <a:gd name="T13" fmla="*/ 102 h 108"/>
                <a:gd name="T14" fmla="*/ 82 w 180"/>
                <a:gd name="T15" fmla="*/ 108 h 108"/>
                <a:gd name="T16" fmla="*/ 180 w 180"/>
                <a:gd name="T17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0" h="108">
                  <a:moveTo>
                    <a:pt x="180" y="25"/>
                  </a:moveTo>
                  <a:lnTo>
                    <a:pt x="141" y="0"/>
                  </a:lnTo>
                  <a:lnTo>
                    <a:pt x="98" y="0"/>
                  </a:lnTo>
                  <a:lnTo>
                    <a:pt x="88" y="28"/>
                  </a:lnTo>
                  <a:lnTo>
                    <a:pt x="41" y="54"/>
                  </a:lnTo>
                  <a:lnTo>
                    <a:pt x="5" y="66"/>
                  </a:lnTo>
                  <a:lnTo>
                    <a:pt x="0" y="102"/>
                  </a:lnTo>
                  <a:lnTo>
                    <a:pt x="82" y="108"/>
                  </a:lnTo>
                  <a:lnTo>
                    <a:pt x="18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95"/>
            <p:cNvSpPr>
              <a:spLocks/>
            </p:cNvSpPr>
            <p:nvPr/>
          </p:nvSpPr>
          <p:spPr bwMode="auto">
            <a:xfrm>
              <a:off x="5915025" y="700088"/>
              <a:ext cx="112713" cy="79375"/>
            </a:xfrm>
            <a:custGeom>
              <a:avLst/>
              <a:gdLst>
                <a:gd name="T0" fmla="*/ 145 w 213"/>
                <a:gd name="T1" fmla="*/ 0 h 151"/>
                <a:gd name="T2" fmla="*/ 124 w 213"/>
                <a:gd name="T3" fmla="*/ 43 h 151"/>
                <a:gd name="T4" fmla="*/ 83 w 213"/>
                <a:gd name="T5" fmla="*/ 41 h 151"/>
                <a:gd name="T6" fmla="*/ 18 w 213"/>
                <a:gd name="T7" fmla="*/ 89 h 151"/>
                <a:gd name="T8" fmla="*/ 0 w 213"/>
                <a:gd name="T9" fmla="*/ 148 h 151"/>
                <a:gd name="T10" fmla="*/ 42 w 213"/>
                <a:gd name="T11" fmla="*/ 148 h 151"/>
                <a:gd name="T12" fmla="*/ 65 w 213"/>
                <a:gd name="T13" fmla="*/ 109 h 151"/>
                <a:gd name="T14" fmla="*/ 122 w 213"/>
                <a:gd name="T15" fmla="*/ 151 h 151"/>
                <a:gd name="T16" fmla="*/ 175 w 213"/>
                <a:gd name="T17" fmla="*/ 127 h 151"/>
                <a:gd name="T18" fmla="*/ 213 w 213"/>
                <a:gd name="T19" fmla="*/ 94 h 151"/>
                <a:gd name="T20" fmla="*/ 198 w 213"/>
                <a:gd name="T21" fmla="*/ 43 h 151"/>
                <a:gd name="T22" fmla="*/ 178 w 213"/>
                <a:gd name="T23" fmla="*/ 8 h 151"/>
                <a:gd name="T24" fmla="*/ 145 w 213"/>
                <a:gd name="T2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151">
                  <a:moveTo>
                    <a:pt x="145" y="0"/>
                  </a:moveTo>
                  <a:lnTo>
                    <a:pt x="124" y="43"/>
                  </a:lnTo>
                  <a:lnTo>
                    <a:pt x="83" y="41"/>
                  </a:lnTo>
                  <a:lnTo>
                    <a:pt x="18" y="89"/>
                  </a:lnTo>
                  <a:lnTo>
                    <a:pt x="0" y="148"/>
                  </a:lnTo>
                  <a:lnTo>
                    <a:pt x="42" y="148"/>
                  </a:lnTo>
                  <a:lnTo>
                    <a:pt x="65" y="109"/>
                  </a:lnTo>
                  <a:lnTo>
                    <a:pt x="122" y="151"/>
                  </a:lnTo>
                  <a:lnTo>
                    <a:pt x="175" y="127"/>
                  </a:lnTo>
                  <a:lnTo>
                    <a:pt x="213" y="94"/>
                  </a:lnTo>
                  <a:lnTo>
                    <a:pt x="198" y="43"/>
                  </a:lnTo>
                  <a:lnTo>
                    <a:pt x="178" y="8"/>
                  </a:lnTo>
                  <a:lnTo>
                    <a:pt x="1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96"/>
            <p:cNvSpPr>
              <a:spLocks/>
            </p:cNvSpPr>
            <p:nvPr/>
          </p:nvSpPr>
          <p:spPr bwMode="auto">
            <a:xfrm>
              <a:off x="6037263" y="717550"/>
              <a:ext cx="82550" cy="84138"/>
            </a:xfrm>
            <a:custGeom>
              <a:avLst/>
              <a:gdLst>
                <a:gd name="T0" fmla="*/ 0 w 157"/>
                <a:gd name="T1" fmla="*/ 0 h 161"/>
                <a:gd name="T2" fmla="*/ 22 w 157"/>
                <a:gd name="T3" fmla="*/ 83 h 161"/>
                <a:gd name="T4" fmla="*/ 53 w 157"/>
                <a:gd name="T5" fmla="*/ 161 h 161"/>
                <a:gd name="T6" fmla="*/ 89 w 157"/>
                <a:gd name="T7" fmla="*/ 99 h 161"/>
                <a:gd name="T8" fmla="*/ 157 w 157"/>
                <a:gd name="T9" fmla="*/ 83 h 161"/>
                <a:gd name="T10" fmla="*/ 157 w 157"/>
                <a:gd name="T11" fmla="*/ 39 h 161"/>
                <a:gd name="T12" fmla="*/ 113 w 157"/>
                <a:gd name="T13" fmla="*/ 6 h 161"/>
                <a:gd name="T14" fmla="*/ 0 w 157"/>
                <a:gd name="T1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61">
                  <a:moveTo>
                    <a:pt x="0" y="0"/>
                  </a:moveTo>
                  <a:lnTo>
                    <a:pt x="22" y="83"/>
                  </a:lnTo>
                  <a:lnTo>
                    <a:pt x="53" y="161"/>
                  </a:lnTo>
                  <a:lnTo>
                    <a:pt x="89" y="99"/>
                  </a:lnTo>
                  <a:lnTo>
                    <a:pt x="157" y="83"/>
                  </a:lnTo>
                  <a:lnTo>
                    <a:pt x="157" y="39"/>
                  </a:lnTo>
                  <a:lnTo>
                    <a:pt x="11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97"/>
            <p:cNvSpPr>
              <a:spLocks/>
            </p:cNvSpPr>
            <p:nvPr/>
          </p:nvSpPr>
          <p:spPr bwMode="auto">
            <a:xfrm>
              <a:off x="6764338" y="606425"/>
              <a:ext cx="174625" cy="141288"/>
            </a:xfrm>
            <a:custGeom>
              <a:avLst/>
              <a:gdLst>
                <a:gd name="T0" fmla="*/ 243 w 331"/>
                <a:gd name="T1" fmla="*/ 76 h 267"/>
                <a:gd name="T2" fmla="*/ 290 w 331"/>
                <a:gd name="T3" fmla="*/ 115 h 267"/>
                <a:gd name="T4" fmla="*/ 322 w 331"/>
                <a:gd name="T5" fmla="*/ 101 h 267"/>
                <a:gd name="T6" fmla="*/ 331 w 331"/>
                <a:gd name="T7" fmla="*/ 47 h 267"/>
                <a:gd name="T8" fmla="*/ 264 w 331"/>
                <a:gd name="T9" fmla="*/ 0 h 267"/>
                <a:gd name="T10" fmla="*/ 221 w 331"/>
                <a:gd name="T11" fmla="*/ 29 h 267"/>
                <a:gd name="T12" fmla="*/ 113 w 331"/>
                <a:gd name="T13" fmla="*/ 39 h 267"/>
                <a:gd name="T14" fmla="*/ 113 w 331"/>
                <a:gd name="T15" fmla="*/ 87 h 267"/>
                <a:gd name="T16" fmla="*/ 0 w 331"/>
                <a:gd name="T17" fmla="*/ 89 h 267"/>
                <a:gd name="T18" fmla="*/ 0 w 331"/>
                <a:gd name="T19" fmla="*/ 169 h 267"/>
                <a:gd name="T20" fmla="*/ 133 w 331"/>
                <a:gd name="T21" fmla="*/ 267 h 267"/>
                <a:gd name="T22" fmla="*/ 167 w 331"/>
                <a:gd name="T23" fmla="*/ 243 h 267"/>
                <a:gd name="T24" fmla="*/ 159 w 331"/>
                <a:gd name="T25" fmla="*/ 173 h 267"/>
                <a:gd name="T26" fmla="*/ 244 w 331"/>
                <a:gd name="T27" fmla="*/ 151 h 267"/>
                <a:gd name="T28" fmla="*/ 226 w 331"/>
                <a:gd name="T29" fmla="*/ 119 h 267"/>
                <a:gd name="T30" fmla="*/ 195 w 331"/>
                <a:gd name="T31" fmla="*/ 87 h 267"/>
                <a:gd name="T32" fmla="*/ 243 w 331"/>
                <a:gd name="T33" fmla="*/ 7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" h="267">
                  <a:moveTo>
                    <a:pt x="243" y="76"/>
                  </a:moveTo>
                  <a:lnTo>
                    <a:pt x="290" y="115"/>
                  </a:lnTo>
                  <a:lnTo>
                    <a:pt x="322" y="101"/>
                  </a:lnTo>
                  <a:lnTo>
                    <a:pt x="331" y="47"/>
                  </a:lnTo>
                  <a:lnTo>
                    <a:pt x="264" y="0"/>
                  </a:lnTo>
                  <a:lnTo>
                    <a:pt x="221" y="29"/>
                  </a:lnTo>
                  <a:lnTo>
                    <a:pt x="113" y="39"/>
                  </a:lnTo>
                  <a:lnTo>
                    <a:pt x="113" y="87"/>
                  </a:lnTo>
                  <a:lnTo>
                    <a:pt x="0" y="89"/>
                  </a:lnTo>
                  <a:lnTo>
                    <a:pt x="0" y="169"/>
                  </a:lnTo>
                  <a:lnTo>
                    <a:pt x="133" y="267"/>
                  </a:lnTo>
                  <a:lnTo>
                    <a:pt x="167" y="243"/>
                  </a:lnTo>
                  <a:lnTo>
                    <a:pt x="159" y="173"/>
                  </a:lnTo>
                  <a:lnTo>
                    <a:pt x="244" y="151"/>
                  </a:lnTo>
                  <a:lnTo>
                    <a:pt x="226" y="119"/>
                  </a:lnTo>
                  <a:lnTo>
                    <a:pt x="195" y="87"/>
                  </a:lnTo>
                  <a:lnTo>
                    <a:pt x="243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98"/>
            <p:cNvSpPr>
              <a:spLocks/>
            </p:cNvSpPr>
            <p:nvPr/>
          </p:nvSpPr>
          <p:spPr bwMode="auto">
            <a:xfrm>
              <a:off x="6958013" y="596900"/>
              <a:ext cx="96838" cy="55563"/>
            </a:xfrm>
            <a:custGeom>
              <a:avLst/>
              <a:gdLst>
                <a:gd name="T0" fmla="*/ 0 w 182"/>
                <a:gd name="T1" fmla="*/ 48 h 106"/>
                <a:gd name="T2" fmla="*/ 30 w 182"/>
                <a:gd name="T3" fmla="*/ 106 h 106"/>
                <a:gd name="T4" fmla="*/ 149 w 182"/>
                <a:gd name="T5" fmla="*/ 93 h 106"/>
                <a:gd name="T6" fmla="*/ 182 w 182"/>
                <a:gd name="T7" fmla="*/ 51 h 106"/>
                <a:gd name="T8" fmla="*/ 175 w 182"/>
                <a:gd name="T9" fmla="*/ 13 h 106"/>
                <a:gd name="T10" fmla="*/ 142 w 182"/>
                <a:gd name="T11" fmla="*/ 0 h 106"/>
                <a:gd name="T12" fmla="*/ 111 w 182"/>
                <a:gd name="T13" fmla="*/ 23 h 106"/>
                <a:gd name="T14" fmla="*/ 22 w 182"/>
                <a:gd name="T15" fmla="*/ 42 h 106"/>
                <a:gd name="T16" fmla="*/ 0 w 182"/>
                <a:gd name="T17" fmla="*/ 4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2" h="106">
                  <a:moveTo>
                    <a:pt x="0" y="48"/>
                  </a:moveTo>
                  <a:lnTo>
                    <a:pt x="30" y="106"/>
                  </a:lnTo>
                  <a:lnTo>
                    <a:pt x="149" y="93"/>
                  </a:lnTo>
                  <a:lnTo>
                    <a:pt x="182" y="51"/>
                  </a:lnTo>
                  <a:lnTo>
                    <a:pt x="175" y="13"/>
                  </a:lnTo>
                  <a:lnTo>
                    <a:pt x="142" y="0"/>
                  </a:lnTo>
                  <a:lnTo>
                    <a:pt x="111" y="23"/>
                  </a:lnTo>
                  <a:lnTo>
                    <a:pt x="22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99"/>
            <p:cNvSpPr>
              <a:spLocks/>
            </p:cNvSpPr>
            <p:nvPr/>
          </p:nvSpPr>
          <p:spPr bwMode="auto">
            <a:xfrm>
              <a:off x="6896100" y="733425"/>
              <a:ext cx="74613" cy="46038"/>
            </a:xfrm>
            <a:custGeom>
              <a:avLst/>
              <a:gdLst>
                <a:gd name="T0" fmla="*/ 110 w 142"/>
                <a:gd name="T1" fmla="*/ 15 h 87"/>
                <a:gd name="T2" fmla="*/ 50 w 142"/>
                <a:gd name="T3" fmla="*/ 0 h 87"/>
                <a:gd name="T4" fmla="*/ 15 w 142"/>
                <a:gd name="T5" fmla="*/ 36 h 87"/>
                <a:gd name="T6" fmla="*/ 0 w 142"/>
                <a:gd name="T7" fmla="*/ 87 h 87"/>
                <a:gd name="T8" fmla="*/ 81 w 142"/>
                <a:gd name="T9" fmla="*/ 79 h 87"/>
                <a:gd name="T10" fmla="*/ 142 w 142"/>
                <a:gd name="T11" fmla="*/ 47 h 87"/>
                <a:gd name="T12" fmla="*/ 110 w 142"/>
                <a:gd name="T13" fmla="*/ 1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7">
                  <a:moveTo>
                    <a:pt x="110" y="15"/>
                  </a:moveTo>
                  <a:lnTo>
                    <a:pt x="50" y="0"/>
                  </a:lnTo>
                  <a:lnTo>
                    <a:pt x="15" y="36"/>
                  </a:lnTo>
                  <a:lnTo>
                    <a:pt x="0" y="87"/>
                  </a:lnTo>
                  <a:lnTo>
                    <a:pt x="81" y="79"/>
                  </a:lnTo>
                  <a:lnTo>
                    <a:pt x="142" y="47"/>
                  </a:lnTo>
                  <a:lnTo>
                    <a:pt x="11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200"/>
            <p:cNvSpPr>
              <a:spLocks/>
            </p:cNvSpPr>
            <p:nvPr/>
          </p:nvSpPr>
          <p:spPr bwMode="auto">
            <a:xfrm>
              <a:off x="7699375" y="557213"/>
              <a:ext cx="80963" cy="58738"/>
            </a:xfrm>
            <a:custGeom>
              <a:avLst/>
              <a:gdLst>
                <a:gd name="T0" fmla="*/ 137 w 152"/>
                <a:gd name="T1" fmla="*/ 15 h 112"/>
                <a:gd name="T2" fmla="*/ 86 w 152"/>
                <a:gd name="T3" fmla="*/ 0 h 112"/>
                <a:gd name="T4" fmla="*/ 29 w 152"/>
                <a:gd name="T5" fmla="*/ 21 h 112"/>
                <a:gd name="T6" fmla="*/ 0 w 152"/>
                <a:gd name="T7" fmla="*/ 64 h 112"/>
                <a:gd name="T8" fmla="*/ 36 w 152"/>
                <a:gd name="T9" fmla="*/ 112 h 112"/>
                <a:gd name="T10" fmla="*/ 133 w 152"/>
                <a:gd name="T11" fmla="*/ 70 h 112"/>
                <a:gd name="T12" fmla="*/ 152 w 152"/>
                <a:gd name="T13" fmla="*/ 48 h 112"/>
                <a:gd name="T14" fmla="*/ 137 w 152"/>
                <a:gd name="T15" fmla="*/ 1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2" h="112">
                  <a:moveTo>
                    <a:pt x="137" y="15"/>
                  </a:moveTo>
                  <a:lnTo>
                    <a:pt x="86" y="0"/>
                  </a:lnTo>
                  <a:lnTo>
                    <a:pt x="29" y="21"/>
                  </a:lnTo>
                  <a:lnTo>
                    <a:pt x="0" y="64"/>
                  </a:lnTo>
                  <a:lnTo>
                    <a:pt x="36" y="112"/>
                  </a:lnTo>
                  <a:lnTo>
                    <a:pt x="133" y="70"/>
                  </a:lnTo>
                  <a:lnTo>
                    <a:pt x="152" y="48"/>
                  </a:lnTo>
                  <a:lnTo>
                    <a:pt x="13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201"/>
            <p:cNvSpPr>
              <a:spLocks/>
            </p:cNvSpPr>
            <p:nvPr/>
          </p:nvSpPr>
          <p:spPr bwMode="auto">
            <a:xfrm>
              <a:off x="6348413" y="3316288"/>
              <a:ext cx="57150" cy="103188"/>
            </a:xfrm>
            <a:custGeom>
              <a:avLst/>
              <a:gdLst>
                <a:gd name="T0" fmla="*/ 16 w 109"/>
                <a:gd name="T1" fmla="*/ 13 h 195"/>
                <a:gd name="T2" fmla="*/ 20 w 109"/>
                <a:gd name="T3" fmla="*/ 59 h 195"/>
                <a:gd name="T4" fmla="*/ 25 w 109"/>
                <a:gd name="T5" fmla="*/ 93 h 195"/>
                <a:gd name="T6" fmla="*/ 0 w 109"/>
                <a:gd name="T7" fmla="*/ 98 h 195"/>
                <a:gd name="T8" fmla="*/ 12 w 109"/>
                <a:gd name="T9" fmla="*/ 174 h 195"/>
                <a:gd name="T10" fmla="*/ 51 w 109"/>
                <a:gd name="T11" fmla="*/ 195 h 195"/>
                <a:gd name="T12" fmla="*/ 109 w 109"/>
                <a:gd name="T13" fmla="*/ 161 h 195"/>
                <a:gd name="T14" fmla="*/ 92 w 109"/>
                <a:gd name="T15" fmla="*/ 81 h 195"/>
                <a:gd name="T16" fmla="*/ 96 w 109"/>
                <a:gd name="T17" fmla="*/ 51 h 195"/>
                <a:gd name="T18" fmla="*/ 42 w 109"/>
                <a:gd name="T19" fmla="*/ 0 h 195"/>
                <a:gd name="T20" fmla="*/ 16 w 109"/>
                <a:gd name="T21" fmla="*/ 1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195">
                  <a:moveTo>
                    <a:pt x="16" y="13"/>
                  </a:moveTo>
                  <a:lnTo>
                    <a:pt x="20" y="59"/>
                  </a:lnTo>
                  <a:lnTo>
                    <a:pt x="25" y="93"/>
                  </a:lnTo>
                  <a:lnTo>
                    <a:pt x="0" y="98"/>
                  </a:lnTo>
                  <a:lnTo>
                    <a:pt x="12" y="174"/>
                  </a:lnTo>
                  <a:lnTo>
                    <a:pt x="51" y="195"/>
                  </a:lnTo>
                  <a:lnTo>
                    <a:pt x="109" y="161"/>
                  </a:lnTo>
                  <a:lnTo>
                    <a:pt x="92" y="81"/>
                  </a:lnTo>
                  <a:lnTo>
                    <a:pt x="96" y="51"/>
                  </a:lnTo>
                  <a:lnTo>
                    <a:pt x="42" y="0"/>
                  </a:lnTo>
                  <a:lnTo>
                    <a:pt x="1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202"/>
            <p:cNvSpPr>
              <a:spLocks/>
            </p:cNvSpPr>
            <p:nvPr/>
          </p:nvSpPr>
          <p:spPr bwMode="auto">
            <a:xfrm>
              <a:off x="2190750" y="2928938"/>
              <a:ext cx="241300" cy="115888"/>
            </a:xfrm>
            <a:custGeom>
              <a:avLst/>
              <a:gdLst>
                <a:gd name="T0" fmla="*/ 0 w 457"/>
                <a:gd name="T1" fmla="*/ 40 h 221"/>
                <a:gd name="T2" fmla="*/ 0 w 457"/>
                <a:gd name="T3" fmla="*/ 62 h 221"/>
                <a:gd name="T4" fmla="*/ 91 w 457"/>
                <a:gd name="T5" fmla="*/ 63 h 221"/>
                <a:gd name="T6" fmla="*/ 134 w 457"/>
                <a:gd name="T7" fmla="*/ 39 h 221"/>
                <a:gd name="T8" fmla="*/ 140 w 457"/>
                <a:gd name="T9" fmla="*/ 57 h 221"/>
                <a:gd name="T10" fmla="*/ 230 w 457"/>
                <a:gd name="T11" fmla="*/ 79 h 221"/>
                <a:gd name="T12" fmla="*/ 310 w 457"/>
                <a:gd name="T13" fmla="*/ 151 h 221"/>
                <a:gd name="T14" fmla="*/ 292 w 457"/>
                <a:gd name="T15" fmla="*/ 175 h 221"/>
                <a:gd name="T16" fmla="*/ 295 w 457"/>
                <a:gd name="T17" fmla="*/ 205 h 221"/>
                <a:gd name="T18" fmla="*/ 361 w 457"/>
                <a:gd name="T19" fmla="*/ 221 h 221"/>
                <a:gd name="T20" fmla="*/ 428 w 457"/>
                <a:gd name="T21" fmla="*/ 190 h 221"/>
                <a:gd name="T22" fmla="*/ 457 w 457"/>
                <a:gd name="T23" fmla="*/ 161 h 221"/>
                <a:gd name="T24" fmla="*/ 414 w 457"/>
                <a:gd name="T25" fmla="*/ 139 h 221"/>
                <a:gd name="T26" fmla="*/ 192 w 457"/>
                <a:gd name="T27" fmla="*/ 9 h 221"/>
                <a:gd name="T28" fmla="*/ 115 w 457"/>
                <a:gd name="T29" fmla="*/ 0 h 221"/>
                <a:gd name="T30" fmla="*/ 0 w 457"/>
                <a:gd name="T31" fmla="*/ 4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7" h="221">
                  <a:moveTo>
                    <a:pt x="0" y="40"/>
                  </a:moveTo>
                  <a:lnTo>
                    <a:pt x="0" y="62"/>
                  </a:lnTo>
                  <a:lnTo>
                    <a:pt x="91" y="63"/>
                  </a:lnTo>
                  <a:lnTo>
                    <a:pt x="134" y="39"/>
                  </a:lnTo>
                  <a:lnTo>
                    <a:pt x="140" y="57"/>
                  </a:lnTo>
                  <a:lnTo>
                    <a:pt x="230" y="79"/>
                  </a:lnTo>
                  <a:lnTo>
                    <a:pt x="310" y="151"/>
                  </a:lnTo>
                  <a:lnTo>
                    <a:pt x="292" y="175"/>
                  </a:lnTo>
                  <a:lnTo>
                    <a:pt x="295" y="205"/>
                  </a:lnTo>
                  <a:lnTo>
                    <a:pt x="361" y="221"/>
                  </a:lnTo>
                  <a:lnTo>
                    <a:pt x="428" y="190"/>
                  </a:lnTo>
                  <a:lnTo>
                    <a:pt x="457" y="161"/>
                  </a:lnTo>
                  <a:lnTo>
                    <a:pt x="414" y="139"/>
                  </a:lnTo>
                  <a:lnTo>
                    <a:pt x="192" y="9"/>
                  </a:lnTo>
                  <a:lnTo>
                    <a:pt x="115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203"/>
            <p:cNvSpPr>
              <a:spLocks/>
            </p:cNvSpPr>
            <p:nvPr/>
          </p:nvSpPr>
          <p:spPr bwMode="auto">
            <a:xfrm>
              <a:off x="2347913" y="2874963"/>
              <a:ext cx="23813" cy="36513"/>
            </a:xfrm>
            <a:custGeom>
              <a:avLst/>
              <a:gdLst>
                <a:gd name="T0" fmla="*/ 23 w 44"/>
                <a:gd name="T1" fmla="*/ 7 h 69"/>
                <a:gd name="T2" fmla="*/ 2 w 44"/>
                <a:gd name="T3" fmla="*/ 0 h 69"/>
                <a:gd name="T4" fmla="*/ 0 w 44"/>
                <a:gd name="T5" fmla="*/ 42 h 69"/>
                <a:gd name="T6" fmla="*/ 26 w 44"/>
                <a:gd name="T7" fmla="*/ 69 h 69"/>
                <a:gd name="T8" fmla="*/ 44 w 44"/>
                <a:gd name="T9" fmla="*/ 42 h 69"/>
                <a:gd name="T10" fmla="*/ 23 w 44"/>
                <a:gd name="T11" fmla="*/ 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9">
                  <a:moveTo>
                    <a:pt x="23" y="7"/>
                  </a:moveTo>
                  <a:lnTo>
                    <a:pt x="2" y="0"/>
                  </a:lnTo>
                  <a:lnTo>
                    <a:pt x="0" y="42"/>
                  </a:lnTo>
                  <a:lnTo>
                    <a:pt x="26" y="69"/>
                  </a:lnTo>
                  <a:lnTo>
                    <a:pt x="44" y="42"/>
                  </a:lnTo>
                  <a:lnTo>
                    <a:pt x="23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204"/>
            <p:cNvSpPr>
              <a:spLocks/>
            </p:cNvSpPr>
            <p:nvPr/>
          </p:nvSpPr>
          <p:spPr bwMode="auto">
            <a:xfrm>
              <a:off x="2366963" y="2913063"/>
              <a:ext cx="23813" cy="30163"/>
            </a:xfrm>
            <a:custGeom>
              <a:avLst/>
              <a:gdLst>
                <a:gd name="T0" fmla="*/ 31 w 44"/>
                <a:gd name="T1" fmla="*/ 0 h 57"/>
                <a:gd name="T2" fmla="*/ 0 w 44"/>
                <a:gd name="T3" fmla="*/ 16 h 57"/>
                <a:gd name="T4" fmla="*/ 29 w 44"/>
                <a:gd name="T5" fmla="*/ 57 h 57"/>
                <a:gd name="T6" fmla="*/ 44 w 44"/>
                <a:gd name="T7" fmla="*/ 37 h 57"/>
                <a:gd name="T8" fmla="*/ 31 w 44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7">
                  <a:moveTo>
                    <a:pt x="31" y="0"/>
                  </a:moveTo>
                  <a:lnTo>
                    <a:pt x="0" y="16"/>
                  </a:lnTo>
                  <a:lnTo>
                    <a:pt x="29" y="57"/>
                  </a:lnTo>
                  <a:lnTo>
                    <a:pt x="44" y="37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205"/>
            <p:cNvSpPr>
              <a:spLocks/>
            </p:cNvSpPr>
            <p:nvPr/>
          </p:nvSpPr>
          <p:spPr bwMode="auto">
            <a:xfrm>
              <a:off x="2417763" y="2928938"/>
              <a:ext cx="23813" cy="26988"/>
            </a:xfrm>
            <a:custGeom>
              <a:avLst/>
              <a:gdLst>
                <a:gd name="T0" fmla="*/ 31 w 46"/>
                <a:gd name="T1" fmla="*/ 1 h 53"/>
                <a:gd name="T2" fmla="*/ 0 w 46"/>
                <a:gd name="T3" fmla="*/ 0 h 53"/>
                <a:gd name="T4" fmla="*/ 3 w 46"/>
                <a:gd name="T5" fmla="*/ 20 h 53"/>
                <a:gd name="T6" fmla="*/ 26 w 46"/>
                <a:gd name="T7" fmla="*/ 53 h 53"/>
                <a:gd name="T8" fmla="*/ 46 w 46"/>
                <a:gd name="T9" fmla="*/ 32 h 53"/>
                <a:gd name="T10" fmla="*/ 31 w 46"/>
                <a:gd name="T11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53">
                  <a:moveTo>
                    <a:pt x="31" y="1"/>
                  </a:moveTo>
                  <a:lnTo>
                    <a:pt x="0" y="0"/>
                  </a:lnTo>
                  <a:lnTo>
                    <a:pt x="3" y="20"/>
                  </a:lnTo>
                  <a:lnTo>
                    <a:pt x="26" y="53"/>
                  </a:lnTo>
                  <a:lnTo>
                    <a:pt x="46" y="32"/>
                  </a:lnTo>
                  <a:lnTo>
                    <a:pt x="3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207"/>
            <p:cNvSpPr>
              <a:spLocks/>
            </p:cNvSpPr>
            <p:nvPr/>
          </p:nvSpPr>
          <p:spPr bwMode="auto">
            <a:xfrm>
              <a:off x="2393950" y="2865438"/>
              <a:ext cx="33338" cy="42863"/>
            </a:xfrm>
            <a:custGeom>
              <a:avLst/>
              <a:gdLst>
                <a:gd name="T0" fmla="*/ 62 w 62"/>
                <a:gd name="T1" fmla="*/ 82 h 82"/>
                <a:gd name="T2" fmla="*/ 10 w 62"/>
                <a:gd name="T3" fmla="*/ 61 h 82"/>
                <a:gd name="T4" fmla="*/ 0 w 62"/>
                <a:gd name="T5" fmla="*/ 9 h 82"/>
                <a:gd name="T6" fmla="*/ 20 w 62"/>
                <a:gd name="T7" fmla="*/ 0 h 82"/>
                <a:gd name="T8" fmla="*/ 40 w 62"/>
                <a:gd name="T9" fmla="*/ 40 h 82"/>
                <a:gd name="T10" fmla="*/ 60 w 62"/>
                <a:gd name="T11" fmla="*/ 56 h 82"/>
                <a:gd name="T12" fmla="*/ 62 w 6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82">
                  <a:moveTo>
                    <a:pt x="62" y="82"/>
                  </a:moveTo>
                  <a:lnTo>
                    <a:pt x="10" y="61"/>
                  </a:lnTo>
                  <a:lnTo>
                    <a:pt x="0" y="9"/>
                  </a:lnTo>
                  <a:lnTo>
                    <a:pt x="20" y="0"/>
                  </a:lnTo>
                  <a:lnTo>
                    <a:pt x="40" y="40"/>
                  </a:lnTo>
                  <a:lnTo>
                    <a:pt x="60" y="56"/>
                  </a:lnTo>
                  <a:lnTo>
                    <a:pt x="62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208"/>
            <p:cNvSpPr>
              <a:spLocks/>
            </p:cNvSpPr>
            <p:nvPr/>
          </p:nvSpPr>
          <p:spPr bwMode="auto">
            <a:xfrm>
              <a:off x="2368550" y="2816225"/>
              <a:ext cx="39688" cy="36513"/>
            </a:xfrm>
            <a:custGeom>
              <a:avLst/>
              <a:gdLst>
                <a:gd name="T0" fmla="*/ 60 w 76"/>
                <a:gd name="T1" fmla="*/ 69 h 69"/>
                <a:gd name="T2" fmla="*/ 33 w 76"/>
                <a:gd name="T3" fmla="*/ 62 h 69"/>
                <a:gd name="T4" fmla="*/ 29 w 76"/>
                <a:gd name="T5" fmla="*/ 29 h 69"/>
                <a:gd name="T6" fmla="*/ 0 w 76"/>
                <a:gd name="T7" fmla="*/ 19 h 69"/>
                <a:gd name="T8" fmla="*/ 19 w 76"/>
                <a:gd name="T9" fmla="*/ 0 h 69"/>
                <a:gd name="T10" fmla="*/ 51 w 76"/>
                <a:gd name="T11" fmla="*/ 13 h 69"/>
                <a:gd name="T12" fmla="*/ 76 w 76"/>
                <a:gd name="T13" fmla="*/ 28 h 69"/>
                <a:gd name="T14" fmla="*/ 60 w 76"/>
                <a:gd name="T15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69">
                  <a:moveTo>
                    <a:pt x="60" y="69"/>
                  </a:moveTo>
                  <a:lnTo>
                    <a:pt x="33" y="62"/>
                  </a:lnTo>
                  <a:lnTo>
                    <a:pt x="29" y="29"/>
                  </a:lnTo>
                  <a:lnTo>
                    <a:pt x="0" y="19"/>
                  </a:lnTo>
                  <a:lnTo>
                    <a:pt x="19" y="0"/>
                  </a:lnTo>
                  <a:lnTo>
                    <a:pt x="51" y="13"/>
                  </a:lnTo>
                  <a:lnTo>
                    <a:pt x="76" y="28"/>
                  </a:lnTo>
                  <a:lnTo>
                    <a:pt x="60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09"/>
            <p:cNvSpPr>
              <a:spLocks/>
            </p:cNvSpPr>
            <p:nvPr/>
          </p:nvSpPr>
          <p:spPr bwMode="auto">
            <a:xfrm>
              <a:off x="2322513" y="3063875"/>
              <a:ext cx="50800" cy="28575"/>
            </a:xfrm>
            <a:custGeom>
              <a:avLst/>
              <a:gdLst>
                <a:gd name="T0" fmla="*/ 60 w 94"/>
                <a:gd name="T1" fmla="*/ 0 h 52"/>
                <a:gd name="T2" fmla="*/ 0 w 94"/>
                <a:gd name="T3" fmla="*/ 16 h 52"/>
                <a:gd name="T4" fmla="*/ 0 w 94"/>
                <a:gd name="T5" fmla="*/ 32 h 52"/>
                <a:gd name="T6" fmla="*/ 35 w 94"/>
                <a:gd name="T7" fmla="*/ 52 h 52"/>
                <a:gd name="T8" fmla="*/ 71 w 94"/>
                <a:gd name="T9" fmla="*/ 52 h 52"/>
                <a:gd name="T10" fmla="*/ 94 w 94"/>
                <a:gd name="T11" fmla="*/ 26 h 52"/>
                <a:gd name="T12" fmla="*/ 60 w 94"/>
                <a:gd name="T1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52">
                  <a:moveTo>
                    <a:pt x="60" y="0"/>
                  </a:moveTo>
                  <a:lnTo>
                    <a:pt x="0" y="16"/>
                  </a:lnTo>
                  <a:lnTo>
                    <a:pt x="0" y="32"/>
                  </a:lnTo>
                  <a:lnTo>
                    <a:pt x="35" y="52"/>
                  </a:lnTo>
                  <a:lnTo>
                    <a:pt x="71" y="52"/>
                  </a:lnTo>
                  <a:lnTo>
                    <a:pt x="94" y="26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10"/>
            <p:cNvSpPr>
              <a:spLocks/>
            </p:cNvSpPr>
            <p:nvPr/>
          </p:nvSpPr>
          <p:spPr bwMode="auto">
            <a:xfrm>
              <a:off x="7666038" y="3606800"/>
              <a:ext cx="242888" cy="303213"/>
            </a:xfrm>
            <a:custGeom>
              <a:avLst/>
              <a:gdLst>
                <a:gd name="T0" fmla="*/ 117 w 458"/>
                <a:gd name="T1" fmla="*/ 0 h 573"/>
                <a:gd name="T2" fmla="*/ 45 w 458"/>
                <a:gd name="T3" fmla="*/ 8 h 573"/>
                <a:gd name="T4" fmla="*/ 0 w 458"/>
                <a:gd name="T5" fmla="*/ 41 h 573"/>
                <a:gd name="T6" fmla="*/ 19 w 458"/>
                <a:gd name="T7" fmla="*/ 80 h 573"/>
                <a:gd name="T8" fmla="*/ 96 w 458"/>
                <a:gd name="T9" fmla="*/ 94 h 573"/>
                <a:gd name="T10" fmla="*/ 96 w 458"/>
                <a:gd name="T11" fmla="*/ 108 h 573"/>
                <a:gd name="T12" fmla="*/ 47 w 458"/>
                <a:gd name="T13" fmla="*/ 149 h 573"/>
                <a:gd name="T14" fmla="*/ 71 w 458"/>
                <a:gd name="T15" fmla="*/ 231 h 573"/>
                <a:gd name="T16" fmla="*/ 95 w 458"/>
                <a:gd name="T17" fmla="*/ 233 h 573"/>
                <a:gd name="T18" fmla="*/ 115 w 458"/>
                <a:gd name="T19" fmla="*/ 152 h 573"/>
                <a:gd name="T20" fmla="*/ 154 w 458"/>
                <a:gd name="T21" fmla="*/ 152 h 573"/>
                <a:gd name="T22" fmla="*/ 169 w 458"/>
                <a:gd name="T23" fmla="*/ 231 h 573"/>
                <a:gd name="T24" fmla="*/ 355 w 458"/>
                <a:gd name="T25" fmla="*/ 384 h 573"/>
                <a:gd name="T26" fmla="*/ 360 w 458"/>
                <a:gd name="T27" fmla="*/ 505 h 573"/>
                <a:gd name="T28" fmla="*/ 423 w 458"/>
                <a:gd name="T29" fmla="*/ 573 h 573"/>
                <a:gd name="T30" fmla="*/ 451 w 458"/>
                <a:gd name="T31" fmla="*/ 572 h 573"/>
                <a:gd name="T32" fmla="*/ 458 w 458"/>
                <a:gd name="T33" fmla="*/ 149 h 573"/>
                <a:gd name="T34" fmla="*/ 350 w 458"/>
                <a:gd name="T35" fmla="*/ 74 h 573"/>
                <a:gd name="T36" fmla="*/ 248 w 458"/>
                <a:gd name="T37" fmla="*/ 142 h 573"/>
                <a:gd name="T38" fmla="*/ 212 w 458"/>
                <a:gd name="T39" fmla="*/ 164 h 573"/>
                <a:gd name="T40" fmla="*/ 152 w 458"/>
                <a:gd name="T41" fmla="*/ 126 h 573"/>
                <a:gd name="T42" fmla="*/ 150 w 458"/>
                <a:gd name="T43" fmla="*/ 5 h 573"/>
                <a:gd name="T44" fmla="*/ 117 w 458"/>
                <a:gd name="T4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8" h="573">
                  <a:moveTo>
                    <a:pt x="117" y="0"/>
                  </a:moveTo>
                  <a:lnTo>
                    <a:pt x="45" y="8"/>
                  </a:lnTo>
                  <a:lnTo>
                    <a:pt x="0" y="41"/>
                  </a:lnTo>
                  <a:lnTo>
                    <a:pt x="19" y="80"/>
                  </a:lnTo>
                  <a:lnTo>
                    <a:pt x="96" y="94"/>
                  </a:lnTo>
                  <a:lnTo>
                    <a:pt x="96" y="108"/>
                  </a:lnTo>
                  <a:lnTo>
                    <a:pt x="47" y="149"/>
                  </a:lnTo>
                  <a:lnTo>
                    <a:pt x="71" y="231"/>
                  </a:lnTo>
                  <a:lnTo>
                    <a:pt x="95" y="233"/>
                  </a:lnTo>
                  <a:lnTo>
                    <a:pt x="115" y="152"/>
                  </a:lnTo>
                  <a:lnTo>
                    <a:pt x="154" y="152"/>
                  </a:lnTo>
                  <a:lnTo>
                    <a:pt x="169" y="231"/>
                  </a:lnTo>
                  <a:lnTo>
                    <a:pt x="355" y="384"/>
                  </a:lnTo>
                  <a:lnTo>
                    <a:pt x="360" y="505"/>
                  </a:lnTo>
                  <a:lnTo>
                    <a:pt x="423" y="573"/>
                  </a:lnTo>
                  <a:lnTo>
                    <a:pt x="451" y="572"/>
                  </a:lnTo>
                  <a:lnTo>
                    <a:pt x="458" y="149"/>
                  </a:lnTo>
                  <a:lnTo>
                    <a:pt x="350" y="74"/>
                  </a:lnTo>
                  <a:lnTo>
                    <a:pt x="248" y="142"/>
                  </a:lnTo>
                  <a:lnTo>
                    <a:pt x="212" y="164"/>
                  </a:lnTo>
                  <a:lnTo>
                    <a:pt x="152" y="126"/>
                  </a:lnTo>
                  <a:lnTo>
                    <a:pt x="150" y="5"/>
                  </a:lnTo>
                  <a:lnTo>
                    <a:pt x="1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11"/>
            <p:cNvSpPr>
              <a:spLocks/>
            </p:cNvSpPr>
            <p:nvPr/>
          </p:nvSpPr>
          <p:spPr bwMode="auto">
            <a:xfrm>
              <a:off x="690563" y="768350"/>
              <a:ext cx="925513" cy="912813"/>
            </a:xfrm>
            <a:custGeom>
              <a:avLst/>
              <a:gdLst>
                <a:gd name="T0" fmla="*/ 646 w 1749"/>
                <a:gd name="T1" fmla="*/ 319 h 1724"/>
                <a:gd name="T2" fmla="*/ 503 w 1749"/>
                <a:gd name="T3" fmla="*/ 354 h 1724"/>
                <a:gd name="T4" fmla="*/ 532 w 1749"/>
                <a:gd name="T5" fmla="*/ 515 h 1724"/>
                <a:gd name="T6" fmla="*/ 689 w 1749"/>
                <a:gd name="T7" fmla="*/ 558 h 1724"/>
                <a:gd name="T8" fmla="*/ 697 w 1749"/>
                <a:gd name="T9" fmla="*/ 592 h 1724"/>
                <a:gd name="T10" fmla="*/ 464 w 1749"/>
                <a:gd name="T11" fmla="*/ 665 h 1724"/>
                <a:gd name="T12" fmla="*/ 334 w 1749"/>
                <a:gd name="T13" fmla="*/ 882 h 1724"/>
                <a:gd name="T14" fmla="*/ 380 w 1749"/>
                <a:gd name="T15" fmla="*/ 1112 h 1724"/>
                <a:gd name="T16" fmla="*/ 456 w 1749"/>
                <a:gd name="T17" fmla="*/ 1163 h 1724"/>
                <a:gd name="T18" fmla="*/ 515 w 1749"/>
                <a:gd name="T19" fmla="*/ 1107 h 1724"/>
                <a:gd name="T20" fmla="*/ 532 w 1749"/>
                <a:gd name="T21" fmla="*/ 1142 h 1724"/>
                <a:gd name="T22" fmla="*/ 460 w 1749"/>
                <a:gd name="T23" fmla="*/ 1227 h 1724"/>
                <a:gd name="T24" fmla="*/ 181 w 1749"/>
                <a:gd name="T25" fmla="*/ 1355 h 1724"/>
                <a:gd name="T26" fmla="*/ 4 w 1749"/>
                <a:gd name="T27" fmla="*/ 1397 h 1724"/>
                <a:gd name="T28" fmla="*/ 0 w 1749"/>
                <a:gd name="T29" fmla="*/ 1461 h 1724"/>
                <a:gd name="T30" fmla="*/ 410 w 1749"/>
                <a:gd name="T31" fmla="*/ 1342 h 1724"/>
                <a:gd name="T32" fmla="*/ 578 w 1749"/>
                <a:gd name="T33" fmla="*/ 1295 h 1724"/>
                <a:gd name="T34" fmla="*/ 735 w 1749"/>
                <a:gd name="T35" fmla="*/ 1103 h 1724"/>
                <a:gd name="T36" fmla="*/ 908 w 1749"/>
                <a:gd name="T37" fmla="*/ 988 h 1724"/>
                <a:gd name="T38" fmla="*/ 820 w 1749"/>
                <a:gd name="T39" fmla="*/ 1138 h 1724"/>
                <a:gd name="T40" fmla="*/ 917 w 1749"/>
                <a:gd name="T41" fmla="*/ 1150 h 1724"/>
                <a:gd name="T42" fmla="*/ 1082 w 1749"/>
                <a:gd name="T43" fmla="*/ 1078 h 1724"/>
                <a:gd name="T44" fmla="*/ 1111 w 1749"/>
                <a:gd name="T45" fmla="*/ 1196 h 1724"/>
                <a:gd name="T46" fmla="*/ 1226 w 1749"/>
                <a:gd name="T47" fmla="*/ 1223 h 1724"/>
                <a:gd name="T48" fmla="*/ 1343 w 1749"/>
                <a:gd name="T49" fmla="*/ 1338 h 1724"/>
                <a:gd name="T50" fmla="*/ 1353 w 1749"/>
                <a:gd name="T51" fmla="*/ 1423 h 1724"/>
                <a:gd name="T52" fmla="*/ 1335 w 1749"/>
                <a:gd name="T53" fmla="*/ 1444 h 1724"/>
                <a:gd name="T54" fmla="*/ 1357 w 1749"/>
                <a:gd name="T55" fmla="*/ 1524 h 1724"/>
                <a:gd name="T56" fmla="*/ 1386 w 1749"/>
                <a:gd name="T57" fmla="*/ 1524 h 1724"/>
                <a:gd name="T58" fmla="*/ 1390 w 1749"/>
                <a:gd name="T59" fmla="*/ 1388 h 1724"/>
                <a:gd name="T60" fmla="*/ 1424 w 1749"/>
                <a:gd name="T61" fmla="*/ 1388 h 1724"/>
                <a:gd name="T62" fmla="*/ 1433 w 1749"/>
                <a:gd name="T63" fmla="*/ 1724 h 1724"/>
                <a:gd name="T64" fmla="*/ 1517 w 1749"/>
                <a:gd name="T65" fmla="*/ 1652 h 1724"/>
                <a:gd name="T66" fmla="*/ 1458 w 1749"/>
                <a:gd name="T67" fmla="*/ 1303 h 1724"/>
                <a:gd name="T68" fmla="*/ 1369 w 1749"/>
                <a:gd name="T69" fmla="*/ 1303 h 1724"/>
                <a:gd name="T70" fmla="*/ 1271 w 1749"/>
                <a:gd name="T71" fmla="*/ 1179 h 1724"/>
                <a:gd name="T72" fmla="*/ 1749 w 1749"/>
                <a:gd name="T73" fmla="*/ 370 h 1724"/>
                <a:gd name="T74" fmla="*/ 1276 w 1749"/>
                <a:gd name="T75" fmla="*/ 0 h 1724"/>
                <a:gd name="T76" fmla="*/ 748 w 1749"/>
                <a:gd name="T77" fmla="*/ 102 h 1724"/>
                <a:gd name="T78" fmla="*/ 726 w 1749"/>
                <a:gd name="T79" fmla="*/ 264 h 1724"/>
                <a:gd name="T80" fmla="*/ 841 w 1749"/>
                <a:gd name="T81" fmla="*/ 332 h 1724"/>
                <a:gd name="T82" fmla="*/ 798 w 1749"/>
                <a:gd name="T83" fmla="*/ 442 h 1724"/>
                <a:gd name="T84" fmla="*/ 646 w 1749"/>
                <a:gd name="T85" fmla="*/ 319 h 1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49" h="1724">
                  <a:moveTo>
                    <a:pt x="646" y="319"/>
                  </a:moveTo>
                  <a:lnTo>
                    <a:pt x="503" y="354"/>
                  </a:lnTo>
                  <a:lnTo>
                    <a:pt x="532" y="515"/>
                  </a:lnTo>
                  <a:lnTo>
                    <a:pt x="689" y="558"/>
                  </a:lnTo>
                  <a:lnTo>
                    <a:pt x="697" y="592"/>
                  </a:lnTo>
                  <a:lnTo>
                    <a:pt x="464" y="665"/>
                  </a:lnTo>
                  <a:lnTo>
                    <a:pt x="334" y="882"/>
                  </a:lnTo>
                  <a:lnTo>
                    <a:pt x="380" y="1112"/>
                  </a:lnTo>
                  <a:lnTo>
                    <a:pt x="456" y="1163"/>
                  </a:lnTo>
                  <a:lnTo>
                    <a:pt x="515" y="1107"/>
                  </a:lnTo>
                  <a:lnTo>
                    <a:pt x="532" y="1142"/>
                  </a:lnTo>
                  <a:lnTo>
                    <a:pt x="460" y="1227"/>
                  </a:lnTo>
                  <a:lnTo>
                    <a:pt x="181" y="1355"/>
                  </a:lnTo>
                  <a:lnTo>
                    <a:pt x="4" y="1397"/>
                  </a:lnTo>
                  <a:lnTo>
                    <a:pt x="0" y="1461"/>
                  </a:lnTo>
                  <a:lnTo>
                    <a:pt x="410" y="1342"/>
                  </a:lnTo>
                  <a:lnTo>
                    <a:pt x="578" y="1295"/>
                  </a:lnTo>
                  <a:lnTo>
                    <a:pt x="735" y="1103"/>
                  </a:lnTo>
                  <a:lnTo>
                    <a:pt x="908" y="988"/>
                  </a:lnTo>
                  <a:lnTo>
                    <a:pt x="820" y="1138"/>
                  </a:lnTo>
                  <a:lnTo>
                    <a:pt x="917" y="1150"/>
                  </a:lnTo>
                  <a:lnTo>
                    <a:pt x="1082" y="1078"/>
                  </a:lnTo>
                  <a:lnTo>
                    <a:pt x="1111" y="1196"/>
                  </a:lnTo>
                  <a:lnTo>
                    <a:pt x="1226" y="1223"/>
                  </a:lnTo>
                  <a:lnTo>
                    <a:pt x="1343" y="1338"/>
                  </a:lnTo>
                  <a:lnTo>
                    <a:pt x="1353" y="1423"/>
                  </a:lnTo>
                  <a:lnTo>
                    <a:pt x="1335" y="1444"/>
                  </a:lnTo>
                  <a:lnTo>
                    <a:pt x="1357" y="1524"/>
                  </a:lnTo>
                  <a:lnTo>
                    <a:pt x="1386" y="1524"/>
                  </a:lnTo>
                  <a:lnTo>
                    <a:pt x="1390" y="1388"/>
                  </a:lnTo>
                  <a:lnTo>
                    <a:pt x="1424" y="1388"/>
                  </a:lnTo>
                  <a:lnTo>
                    <a:pt x="1433" y="1724"/>
                  </a:lnTo>
                  <a:lnTo>
                    <a:pt x="1517" y="1652"/>
                  </a:lnTo>
                  <a:lnTo>
                    <a:pt x="1458" y="1303"/>
                  </a:lnTo>
                  <a:lnTo>
                    <a:pt x="1369" y="1303"/>
                  </a:lnTo>
                  <a:lnTo>
                    <a:pt x="1271" y="1179"/>
                  </a:lnTo>
                  <a:lnTo>
                    <a:pt x="1749" y="370"/>
                  </a:lnTo>
                  <a:lnTo>
                    <a:pt x="1276" y="0"/>
                  </a:lnTo>
                  <a:lnTo>
                    <a:pt x="748" y="102"/>
                  </a:lnTo>
                  <a:lnTo>
                    <a:pt x="726" y="264"/>
                  </a:lnTo>
                  <a:lnTo>
                    <a:pt x="841" y="332"/>
                  </a:lnTo>
                  <a:lnTo>
                    <a:pt x="798" y="442"/>
                  </a:lnTo>
                  <a:lnTo>
                    <a:pt x="646" y="3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212"/>
            <p:cNvSpPr>
              <a:spLocks/>
            </p:cNvSpPr>
            <p:nvPr/>
          </p:nvSpPr>
          <p:spPr bwMode="auto">
            <a:xfrm>
              <a:off x="1939925" y="3595688"/>
              <a:ext cx="34925" cy="47625"/>
            </a:xfrm>
            <a:custGeom>
              <a:avLst/>
              <a:gdLst>
                <a:gd name="T0" fmla="*/ 31 w 65"/>
                <a:gd name="T1" fmla="*/ 0 h 91"/>
                <a:gd name="T2" fmla="*/ 21 w 65"/>
                <a:gd name="T3" fmla="*/ 47 h 91"/>
                <a:gd name="T4" fmla="*/ 0 w 65"/>
                <a:gd name="T5" fmla="*/ 67 h 91"/>
                <a:gd name="T6" fmla="*/ 14 w 65"/>
                <a:gd name="T7" fmla="*/ 91 h 91"/>
                <a:gd name="T8" fmla="*/ 49 w 65"/>
                <a:gd name="T9" fmla="*/ 77 h 91"/>
                <a:gd name="T10" fmla="*/ 65 w 65"/>
                <a:gd name="T11" fmla="*/ 48 h 91"/>
                <a:gd name="T12" fmla="*/ 55 w 65"/>
                <a:gd name="T13" fmla="*/ 18 h 91"/>
                <a:gd name="T14" fmla="*/ 31 w 65"/>
                <a:gd name="T1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91">
                  <a:moveTo>
                    <a:pt x="31" y="0"/>
                  </a:moveTo>
                  <a:lnTo>
                    <a:pt x="21" y="47"/>
                  </a:lnTo>
                  <a:lnTo>
                    <a:pt x="0" y="67"/>
                  </a:lnTo>
                  <a:lnTo>
                    <a:pt x="14" y="91"/>
                  </a:lnTo>
                  <a:lnTo>
                    <a:pt x="49" y="77"/>
                  </a:lnTo>
                  <a:lnTo>
                    <a:pt x="65" y="48"/>
                  </a:lnTo>
                  <a:lnTo>
                    <a:pt x="55" y="18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213"/>
            <p:cNvSpPr>
              <a:spLocks/>
            </p:cNvSpPr>
            <p:nvPr/>
          </p:nvSpPr>
          <p:spPr bwMode="auto">
            <a:xfrm>
              <a:off x="1965325" y="850900"/>
              <a:ext cx="239713" cy="177800"/>
            </a:xfrm>
            <a:custGeom>
              <a:avLst/>
              <a:gdLst>
                <a:gd name="T0" fmla="*/ 133 w 452"/>
                <a:gd name="T1" fmla="*/ 8 h 334"/>
                <a:gd name="T2" fmla="*/ 137 w 452"/>
                <a:gd name="T3" fmla="*/ 77 h 334"/>
                <a:gd name="T4" fmla="*/ 0 w 452"/>
                <a:gd name="T5" fmla="*/ 219 h 334"/>
                <a:gd name="T6" fmla="*/ 35 w 452"/>
                <a:gd name="T7" fmla="*/ 334 h 334"/>
                <a:gd name="T8" fmla="*/ 133 w 452"/>
                <a:gd name="T9" fmla="*/ 307 h 334"/>
                <a:gd name="T10" fmla="*/ 190 w 452"/>
                <a:gd name="T11" fmla="*/ 222 h 334"/>
                <a:gd name="T12" fmla="*/ 334 w 452"/>
                <a:gd name="T13" fmla="*/ 168 h 334"/>
                <a:gd name="T14" fmla="*/ 452 w 452"/>
                <a:gd name="T15" fmla="*/ 161 h 334"/>
                <a:gd name="T16" fmla="*/ 360 w 452"/>
                <a:gd name="T17" fmla="*/ 62 h 334"/>
                <a:gd name="T18" fmla="*/ 315 w 452"/>
                <a:gd name="T19" fmla="*/ 96 h 334"/>
                <a:gd name="T20" fmla="*/ 281 w 452"/>
                <a:gd name="T21" fmla="*/ 84 h 334"/>
                <a:gd name="T22" fmla="*/ 262 w 452"/>
                <a:gd name="T23" fmla="*/ 43 h 334"/>
                <a:gd name="T24" fmla="*/ 220 w 452"/>
                <a:gd name="T25" fmla="*/ 0 h 334"/>
                <a:gd name="T26" fmla="*/ 133 w 452"/>
                <a:gd name="T27" fmla="*/ 8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2" h="334">
                  <a:moveTo>
                    <a:pt x="133" y="8"/>
                  </a:moveTo>
                  <a:lnTo>
                    <a:pt x="137" y="77"/>
                  </a:lnTo>
                  <a:lnTo>
                    <a:pt x="0" y="219"/>
                  </a:lnTo>
                  <a:lnTo>
                    <a:pt x="35" y="334"/>
                  </a:lnTo>
                  <a:lnTo>
                    <a:pt x="133" y="307"/>
                  </a:lnTo>
                  <a:lnTo>
                    <a:pt x="190" y="222"/>
                  </a:lnTo>
                  <a:lnTo>
                    <a:pt x="334" y="168"/>
                  </a:lnTo>
                  <a:lnTo>
                    <a:pt x="452" y="161"/>
                  </a:lnTo>
                  <a:lnTo>
                    <a:pt x="360" y="62"/>
                  </a:lnTo>
                  <a:lnTo>
                    <a:pt x="315" y="96"/>
                  </a:lnTo>
                  <a:lnTo>
                    <a:pt x="281" y="84"/>
                  </a:lnTo>
                  <a:lnTo>
                    <a:pt x="262" y="43"/>
                  </a:lnTo>
                  <a:lnTo>
                    <a:pt x="220" y="0"/>
                  </a:lnTo>
                  <a:lnTo>
                    <a:pt x="133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214"/>
            <p:cNvSpPr>
              <a:spLocks/>
            </p:cNvSpPr>
            <p:nvPr/>
          </p:nvSpPr>
          <p:spPr bwMode="auto">
            <a:xfrm>
              <a:off x="2114550" y="722313"/>
              <a:ext cx="176213" cy="82550"/>
            </a:xfrm>
            <a:custGeom>
              <a:avLst/>
              <a:gdLst>
                <a:gd name="T0" fmla="*/ 31 w 334"/>
                <a:gd name="T1" fmla="*/ 49 h 157"/>
                <a:gd name="T2" fmla="*/ 0 w 334"/>
                <a:gd name="T3" fmla="*/ 103 h 157"/>
                <a:gd name="T4" fmla="*/ 148 w 334"/>
                <a:gd name="T5" fmla="*/ 157 h 157"/>
                <a:gd name="T6" fmla="*/ 201 w 334"/>
                <a:gd name="T7" fmla="*/ 76 h 157"/>
                <a:gd name="T8" fmla="*/ 224 w 334"/>
                <a:gd name="T9" fmla="*/ 130 h 157"/>
                <a:gd name="T10" fmla="*/ 262 w 334"/>
                <a:gd name="T11" fmla="*/ 130 h 157"/>
                <a:gd name="T12" fmla="*/ 334 w 334"/>
                <a:gd name="T13" fmla="*/ 50 h 157"/>
                <a:gd name="T14" fmla="*/ 247 w 334"/>
                <a:gd name="T15" fmla="*/ 27 h 157"/>
                <a:gd name="T16" fmla="*/ 212 w 334"/>
                <a:gd name="T17" fmla="*/ 0 h 157"/>
                <a:gd name="T18" fmla="*/ 167 w 334"/>
                <a:gd name="T19" fmla="*/ 46 h 157"/>
                <a:gd name="T20" fmla="*/ 31 w 334"/>
                <a:gd name="T21" fmla="*/ 4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4" h="157">
                  <a:moveTo>
                    <a:pt x="31" y="49"/>
                  </a:moveTo>
                  <a:lnTo>
                    <a:pt x="0" y="103"/>
                  </a:lnTo>
                  <a:lnTo>
                    <a:pt x="148" y="157"/>
                  </a:lnTo>
                  <a:lnTo>
                    <a:pt x="201" y="76"/>
                  </a:lnTo>
                  <a:lnTo>
                    <a:pt x="224" y="130"/>
                  </a:lnTo>
                  <a:lnTo>
                    <a:pt x="262" y="130"/>
                  </a:lnTo>
                  <a:lnTo>
                    <a:pt x="334" y="50"/>
                  </a:lnTo>
                  <a:lnTo>
                    <a:pt x="247" y="27"/>
                  </a:lnTo>
                  <a:lnTo>
                    <a:pt x="212" y="0"/>
                  </a:lnTo>
                  <a:lnTo>
                    <a:pt x="167" y="46"/>
                  </a:lnTo>
                  <a:lnTo>
                    <a:pt x="31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215"/>
            <p:cNvSpPr>
              <a:spLocks/>
            </p:cNvSpPr>
            <p:nvPr/>
          </p:nvSpPr>
          <p:spPr bwMode="auto">
            <a:xfrm>
              <a:off x="2205038" y="804863"/>
              <a:ext cx="220663" cy="133350"/>
            </a:xfrm>
            <a:custGeom>
              <a:avLst/>
              <a:gdLst>
                <a:gd name="T0" fmla="*/ 117 w 418"/>
                <a:gd name="T1" fmla="*/ 0 h 251"/>
                <a:gd name="T2" fmla="*/ 0 w 418"/>
                <a:gd name="T3" fmla="*/ 49 h 251"/>
                <a:gd name="T4" fmla="*/ 0 w 418"/>
                <a:gd name="T5" fmla="*/ 88 h 251"/>
                <a:gd name="T6" fmla="*/ 152 w 418"/>
                <a:gd name="T7" fmla="*/ 145 h 251"/>
                <a:gd name="T8" fmla="*/ 117 w 418"/>
                <a:gd name="T9" fmla="*/ 183 h 251"/>
                <a:gd name="T10" fmla="*/ 141 w 418"/>
                <a:gd name="T11" fmla="*/ 233 h 251"/>
                <a:gd name="T12" fmla="*/ 235 w 418"/>
                <a:gd name="T13" fmla="*/ 191 h 251"/>
                <a:gd name="T14" fmla="*/ 315 w 418"/>
                <a:gd name="T15" fmla="*/ 191 h 251"/>
                <a:gd name="T16" fmla="*/ 353 w 418"/>
                <a:gd name="T17" fmla="*/ 251 h 251"/>
                <a:gd name="T18" fmla="*/ 418 w 418"/>
                <a:gd name="T19" fmla="*/ 186 h 251"/>
                <a:gd name="T20" fmla="*/ 403 w 418"/>
                <a:gd name="T21" fmla="*/ 126 h 251"/>
                <a:gd name="T22" fmla="*/ 349 w 418"/>
                <a:gd name="T23" fmla="*/ 145 h 251"/>
                <a:gd name="T24" fmla="*/ 342 w 418"/>
                <a:gd name="T25" fmla="*/ 68 h 251"/>
                <a:gd name="T26" fmla="*/ 368 w 418"/>
                <a:gd name="T27" fmla="*/ 22 h 251"/>
                <a:gd name="T28" fmla="*/ 342 w 418"/>
                <a:gd name="T29" fmla="*/ 22 h 251"/>
                <a:gd name="T30" fmla="*/ 300 w 418"/>
                <a:gd name="T31" fmla="*/ 48 h 251"/>
                <a:gd name="T32" fmla="*/ 281 w 418"/>
                <a:gd name="T33" fmla="*/ 64 h 251"/>
                <a:gd name="T34" fmla="*/ 292 w 418"/>
                <a:gd name="T35" fmla="*/ 117 h 251"/>
                <a:gd name="T36" fmla="*/ 263 w 418"/>
                <a:gd name="T37" fmla="*/ 141 h 251"/>
                <a:gd name="T38" fmla="*/ 217 w 418"/>
                <a:gd name="T39" fmla="*/ 137 h 251"/>
                <a:gd name="T40" fmla="*/ 205 w 418"/>
                <a:gd name="T41" fmla="*/ 68 h 251"/>
                <a:gd name="T42" fmla="*/ 117 w 418"/>
                <a:gd name="T4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8" h="251">
                  <a:moveTo>
                    <a:pt x="117" y="0"/>
                  </a:moveTo>
                  <a:lnTo>
                    <a:pt x="0" y="49"/>
                  </a:lnTo>
                  <a:lnTo>
                    <a:pt x="0" y="88"/>
                  </a:lnTo>
                  <a:lnTo>
                    <a:pt x="152" y="145"/>
                  </a:lnTo>
                  <a:lnTo>
                    <a:pt x="117" y="183"/>
                  </a:lnTo>
                  <a:lnTo>
                    <a:pt x="141" y="233"/>
                  </a:lnTo>
                  <a:lnTo>
                    <a:pt x="235" y="191"/>
                  </a:lnTo>
                  <a:lnTo>
                    <a:pt x="315" y="191"/>
                  </a:lnTo>
                  <a:lnTo>
                    <a:pt x="353" y="251"/>
                  </a:lnTo>
                  <a:lnTo>
                    <a:pt x="418" y="186"/>
                  </a:lnTo>
                  <a:lnTo>
                    <a:pt x="403" y="126"/>
                  </a:lnTo>
                  <a:lnTo>
                    <a:pt x="349" y="145"/>
                  </a:lnTo>
                  <a:lnTo>
                    <a:pt x="342" y="68"/>
                  </a:lnTo>
                  <a:lnTo>
                    <a:pt x="368" y="22"/>
                  </a:lnTo>
                  <a:lnTo>
                    <a:pt x="342" y="22"/>
                  </a:lnTo>
                  <a:lnTo>
                    <a:pt x="300" y="48"/>
                  </a:lnTo>
                  <a:lnTo>
                    <a:pt x="281" y="64"/>
                  </a:lnTo>
                  <a:lnTo>
                    <a:pt x="292" y="117"/>
                  </a:lnTo>
                  <a:lnTo>
                    <a:pt x="263" y="141"/>
                  </a:lnTo>
                  <a:lnTo>
                    <a:pt x="217" y="137"/>
                  </a:lnTo>
                  <a:lnTo>
                    <a:pt x="205" y="68"/>
                  </a:lnTo>
                  <a:lnTo>
                    <a:pt x="1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216"/>
            <p:cNvSpPr>
              <a:spLocks/>
            </p:cNvSpPr>
            <p:nvPr/>
          </p:nvSpPr>
          <p:spPr bwMode="auto">
            <a:xfrm>
              <a:off x="2343150" y="742950"/>
              <a:ext cx="66675" cy="38100"/>
            </a:xfrm>
            <a:custGeom>
              <a:avLst/>
              <a:gdLst>
                <a:gd name="T0" fmla="*/ 11 w 125"/>
                <a:gd name="T1" fmla="*/ 0 h 73"/>
                <a:gd name="T2" fmla="*/ 0 w 125"/>
                <a:gd name="T3" fmla="*/ 38 h 73"/>
                <a:gd name="T4" fmla="*/ 72 w 125"/>
                <a:gd name="T5" fmla="*/ 73 h 73"/>
                <a:gd name="T6" fmla="*/ 125 w 125"/>
                <a:gd name="T7" fmla="*/ 42 h 73"/>
                <a:gd name="T8" fmla="*/ 121 w 125"/>
                <a:gd name="T9" fmla="*/ 19 h 73"/>
                <a:gd name="T10" fmla="*/ 11 w 125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5" h="73">
                  <a:moveTo>
                    <a:pt x="11" y="0"/>
                  </a:moveTo>
                  <a:lnTo>
                    <a:pt x="0" y="38"/>
                  </a:lnTo>
                  <a:lnTo>
                    <a:pt x="72" y="73"/>
                  </a:lnTo>
                  <a:lnTo>
                    <a:pt x="125" y="42"/>
                  </a:lnTo>
                  <a:lnTo>
                    <a:pt x="121" y="19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217"/>
            <p:cNvSpPr>
              <a:spLocks/>
            </p:cNvSpPr>
            <p:nvPr/>
          </p:nvSpPr>
          <p:spPr bwMode="auto">
            <a:xfrm>
              <a:off x="2351088" y="708025"/>
              <a:ext cx="65088" cy="23813"/>
            </a:xfrm>
            <a:custGeom>
              <a:avLst/>
              <a:gdLst>
                <a:gd name="T0" fmla="*/ 53 w 122"/>
                <a:gd name="T1" fmla="*/ 0 h 46"/>
                <a:gd name="T2" fmla="*/ 0 w 122"/>
                <a:gd name="T3" fmla="*/ 19 h 46"/>
                <a:gd name="T4" fmla="*/ 4 w 122"/>
                <a:gd name="T5" fmla="*/ 46 h 46"/>
                <a:gd name="T6" fmla="*/ 122 w 122"/>
                <a:gd name="T7" fmla="*/ 38 h 46"/>
                <a:gd name="T8" fmla="*/ 118 w 122"/>
                <a:gd name="T9" fmla="*/ 11 h 46"/>
                <a:gd name="T10" fmla="*/ 53 w 122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2" h="46">
                  <a:moveTo>
                    <a:pt x="53" y="0"/>
                  </a:moveTo>
                  <a:lnTo>
                    <a:pt x="0" y="19"/>
                  </a:lnTo>
                  <a:lnTo>
                    <a:pt x="4" y="46"/>
                  </a:lnTo>
                  <a:lnTo>
                    <a:pt x="122" y="38"/>
                  </a:lnTo>
                  <a:lnTo>
                    <a:pt x="118" y="11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218"/>
            <p:cNvSpPr>
              <a:spLocks/>
            </p:cNvSpPr>
            <p:nvPr/>
          </p:nvSpPr>
          <p:spPr bwMode="auto">
            <a:xfrm>
              <a:off x="2500313" y="739775"/>
              <a:ext cx="92075" cy="79375"/>
            </a:xfrm>
            <a:custGeom>
              <a:avLst/>
              <a:gdLst>
                <a:gd name="T0" fmla="*/ 26 w 175"/>
                <a:gd name="T1" fmla="*/ 4 h 149"/>
                <a:gd name="T2" fmla="*/ 19 w 175"/>
                <a:gd name="T3" fmla="*/ 30 h 149"/>
                <a:gd name="T4" fmla="*/ 0 w 175"/>
                <a:gd name="T5" fmla="*/ 58 h 149"/>
                <a:gd name="T6" fmla="*/ 0 w 175"/>
                <a:gd name="T7" fmla="*/ 95 h 149"/>
                <a:gd name="T8" fmla="*/ 72 w 175"/>
                <a:gd name="T9" fmla="*/ 84 h 149"/>
                <a:gd name="T10" fmla="*/ 148 w 175"/>
                <a:gd name="T11" fmla="*/ 149 h 149"/>
                <a:gd name="T12" fmla="*/ 175 w 175"/>
                <a:gd name="T13" fmla="*/ 149 h 149"/>
                <a:gd name="T14" fmla="*/ 175 w 175"/>
                <a:gd name="T15" fmla="*/ 84 h 149"/>
                <a:gd name="T16" fmla="*/ 98 w 175"/>
                <a:gd name="T17" fmla="*/ 0 h 149"/>
                <a:gd name="T18" fmla="*/ 26 w 175"/>
                <a:gd name="T19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49">
                  <a:moveTo>
                    <a:pt x="26" y="4"/>
                  </a:moveTo>
                  <a:lnTo>
                    <a:pt x="19" y="30"/>
                  </a:lnTo>
                  <a:lnTo>
                    <a:pt x="0" y="58"/>
                  </a:lnTo>
                  <a:lnTo>
                    <a:pt x="0" y="95"/>
                  </a:lnTo>
                  <a:lnTo>
                    <a:pt x="72" y="84"/>
                  </a:lnTo>
                  <a:lnTo>
                    <a:pt x="148" y="149"/>
                  </a:lnTo>
                  <a:lnTo>
                    <a:pt x="175" y="149"/>
                  </a:lnTo>
                  <a:lnTo>
                    <a:pt x="175" y="84"/>
                  </a:lnTo>
                  <a:lnTo>
                    <a:pt x="98" y="0"/>
                  </a:ln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219"/>
            <p:cNvSpPr>
              <a:spLocks/>
            </p:cNvSpPr>
            <p:nvPr/>
          </p:nvSpPr>
          <p:spPr bwMode="auto">
            <a:xfrm>
              <a:off x="2616200" y="779463"/>
              <a:ext cx="57150" cy="73025"/>
            </a:xfrm>
            <a:custGeom>
              <a:avLst/>
              <a:gdLst>
                <a:gd name="T0" fmla="*/ 0 w 107"/>
                <a:gd name="T1" fmla="*/ 7 h 138"/>
                <a:gd name="T2" fmla="*/ 31 w 107"/>
                <a:gd name="T3" fmla="*/ 42 h 138"/>
                <a:gd name="T4" fmla="*/ 4 w 107"/>
                <a:gd name="T5" fmla="*/ 88 h 138"/>
                <a:gd name="T6" fmla="*/ 24 w 107"/>
                <a:gd name="T7" fmla="*/ 138 h 138"/>
                <a:gd name="T8" fmla="*/ 107 w 107"/>
                <a:gd name="T9" fmla="*/ 91 h 138"/>
                <a:gd name="T10" fmla="*/ 107 w 107"/>
                <a:gd name="T11" fmla="*/ 57 h 138"/>
                <a:gd name="T12" fmla="*/ 57 w 107"/>
                <a:gd name="T13" fmla="*/ 0 h 138"/>
                <a:gd name="T14" fmla="*/ 0 w 107"/>
                <a:gd name="T15" fmla="*/ 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138">
                  <a:moveTo>
                    <a:pt x="0" y="7"/>
                  </a:moveTo>
                  <a:lnTo>
                    <a:pt x="31" y="42"/>
                  </a:lnTo>
                  <a:lnTo>
                    <a:pt x="4" y="88"/>
                  </a:lnTo>
                  <a:lnTo>
                    <a:pt x="24" y="138"/>
                  </a:lnTo>
                  <a:lnTo>
                    <a:pt x="107" y="91"/>
                  </a:lnTo>
                  <a:lnTo>
                    <a:pt x="107" y="57"/>
                  </a:lnTo>
                  <a:lnTo>
                    <a:pt x="57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220"/>
            <p:cNvSpPr>
              <a:spLocks/>
            </p:cNvSpPr>
            <p:nvPr/>
          </p:nvSpPr>
          <p:spPr bwMode="auto">
            <a:xfrm>
              <a:off x="2674938" y="687388"/>
              <a:ext cx="163513" cy="168275"/>
            </a:xfrm>
            <a:custGeom>
              <a:avLst/>
              <a:gdLst>
                <a:gd name="T0" fmla="*/ 0 w 310"/>
                <a:gd name="T1" fmla="*/ 93 h 318"/>
                <a:gd name="T2" fmla="*/ 3 w 310"/>
                <a:gd name="T3" fmla="*/ 154 h 318"/>
                <a:gd name="T4" fmla="*/ 105 w 310"/>
                <a:gd name="T5" fmla="*/ 154 h 318"/>
                <a:gd name="T6" fmla="*/ 132 w 310"/>
                <a:gd name="T7" fmla="*/ 177 h 318"/>
                <a:gd name="T8" fmla="*/ 129 w 310"/>
                <a:gd name="T9" fmla="*/ 203 h 318"/>
                <a:gd name="T10" fmla="*/ 37 w 310"/>
                <a:gd name="T11" fmla="*/ 215 h 318"/>
                <a:gd name="T12" fmla="*/ 102 w 310"/>
                <a:gd name="T13" fmla="*/ 303 h 318"/>
                <a:gd name="T14" fmla="*/ 190 w 310"/>
                <a:gd name="T15" fmla="*/ 318 h 318"/>
                <a:gd name="T16" fmla="*/ 310 w 310"/>
                <a:gd name="T17" fmla="*/ 264 h 318"/>
                <a:gd name="T18" fmla="*/ 136 w 310"/>
                <a:gd name="T19" fmla="*/ 0 h 318"/>
                <a:gd name="T20" fmla="*/ 83 w 310"/>
                <a:gd name="T21" fmla="*/ 35 h 318"/>
                <a:gd name="T22" fmla="*/ 87 w 310"/>
                <a:gd name="T23" fmla="*/ 81 h 318"/>
                <a:gd name="T24" fmla="*/ 26 w 310"/>
                <a:gd name="T25" fmla="*/ 58 h 318"/>
                <a:gd name="T26" fmla="*/ 0 w 310"/>
                <a:gd name="T27" fmla="*/ 93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0" h="318">
                  <a:moveTo>
                    <a:pt x="0" y="93"/>
                  </a:moveTo>
                  <a:lnTo>
                    <a:pt x="3" y="154"/>
                  </a:lnTo>
                  <a:lnTo>
                    <a:pt x="105" y="154"/>
                  </a:lnTo>
                  <a:lnTo>
                    <a:pt x="132" y="177"/>
                  </a:lnTo>
                  <a:lnTo>
                    <a:pt x="129" y="203"/>
                  </a:lnTo>
                  <a:lnTo>
                    <a:pt x="37" y="215"/>
                  </a:lnTo>
                  <a:lnTo>
                    <a:pt x="102" y="303"/>
                  </a:lnTo>
                  <a:lnTo>
                    <a:pt x="190" y="318"/>
                  </a:lnTo>
                  <a:lnTo>
                    <a:pt x="310" y="264"/>
                  </a:lnTo>
                  <a:lnTo>
                    <a:pt x="136" y="0"/>
                  </a:lnTo>
                  <a:lnTo>
                    <a:pt x="83" y="35"/>
                  </a:lnTo>
                  <a:lnTo>
                    <a:pt x="87" y="81"/>
                  </a:lnTo>
                  <a:lnTo>
                    <a:pt x="26" y="58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21"/>
            <p:cNvSpPr>
              <a:spLocks/>
            </p:cNvSpPr>
            <p:nvPr/>
          </p:nvSpPr>
          <p:spPr bwMode="auto">
            <a:xfrm>
              <a:off x="2078038" y="965200"/>
              <a:ext cx="301625" cy="277813"/>
            </a:xfrm>
            <a:custGeom>
              <a:avLst/>
              <a:gdLst>
                <a:gd name="T0" fmla="*/ 244 w 570"/>
                <a:gd name="T1" fmla="*/ 0 h 524"/>
                <a:gd name="T2" fmla="*/ 100 w 570"/>
                <a:gd name="T3" fmla="*/ 38 h 524"/>
                <a:gd name="T4" fmla="*/ 15 w 570"/>
                <a:gd name="T5" fmla="*/ 111 h 524"/>
                <a:gd name="T6" fmla="*/ 24 w 570"/>
                <a:gd name="T7" fmla="*/ 191 h 524"/>
                <a:gd name="T8" fmla="*/ 176 w 570"/>
                <a:gd name="T9" fmla="*/ 237 h 524"/>
                <a:gd name="T10" fmla="*/ 141 w 570"/>
                <a:gd name="T11" fmla="*/ 314 h 524"/>
                <a:gd name="T12" fmla="*/ 31 w 570"/>
                <a:gd name="T13" fmla="*/ 245 h 524"/>
                <a:gd name="T14" fmla="*/ 0 w 570"/>
                <a:gd name="T15" fmla="*/ 303 h 524"/>
                <a:gd name="T16" fmla="*/ 72 w 570"/>
                <a:gd name="T17" fmla="*/ 352 h 524"/>
                <a:gd name="T18" fmla="*/ 69 w 570"/>
                <a:gd name="T19" fmla="*/ 433 h 524"/>
                <a:gd name="T20" fmla="*/ 179 w 570"/>
                <a:gd name="T21" fmla="*/ 463 h 524"/>
                <a:gd name="T22" fmla="*/ 312 w 570"/>
                <a:gd name="T23" fmla="*/ 455 h 524"/>
                <a:gd name="T24" fmla="*/ 335 w 570"/>
                <a:gd name="T25" fmla="*/ 413 h 524"/>
                <a:gd name="T26" fmla="*/ 434 w 570"/>
                <a:gd name="T27" fmla="*/ 524 h 524"/>
                <a:gd name="T28" fmla="*/ 502 w 570"/>
                <a:gd name="T29" fmla="*/ 502 h 524"/>
                <a:gd name="T30" fmla="*/ 513 w 570"/>
                <a:gd name="T31" fmla="*/ 424 h 524"/>
                <a:gd name="T32" fmla="*/ 562 w 570"/>
                <a:gd name="T33" fmla="*/ 459 h 524"/>
                <a:gd name="T34" fmla="*/ 570 w 570"/>
                <a:gd name="T35" fmla="*/ 383 h 524"/>
                <a:gd name="T36" fmla="*/ 510 w 570"/>
                <a:gd name="T37" fmla="*/ 344 h 524"/>
                <a:gd name="T38" fmla="*/ 513 w 570"/>
                <a:gd name="T39" fmla="*/ 104 h 524"/>
                <a:gd name="T40" fmla="*/ 460 w 570"/>
                <a:gd name="T41" fmla="*/ 61 h 524"/>
                <a:gd name="T42" fmla="*/ 403 w 570"/>
                <a:gd name="T43" fmla="*/ 137 h 524"/>
                <a:gd name="T44" fmla="*/ 244 w 570"/>
                <a:gd name="T45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0" h="524">
                  <a:moveTo>
                    <a:pt x="244" y="0"/>
                  </a:moveTo>
                  <a:lnTo>
                    <a:pt x="100" y="38"/>
                  </a:lnTo>
                  <a:lnTo>
                    <a:pt x="15" y="111"/>
                  </a:lnTo>
                  <a:lnTo>
                    <a:pt x="24" y="191"/>
                  </a:lnTo>
                  <a:lnTo>
                    <a:pt x="176" y="237"/>
                  </a:lnTo>
                  <a:lnTo>
                    <a:pt x="141" y="314"/>
                  </a:lnTo>
                  <a:lnTo>
                    <a:pt x="31" y="245"/>
                  </a:lnTo>
                  <a:lnTo>
                    <a:pt x="0" y="303"/>
                  </a:lnTo>
                  <a:lnTo>
                    <a:pt x="72" y="352"/>
                  </a:lnTo>
                  <a:lnTo>
                    <a:pt x="69" y="433"/>
                  </a:lnTo>
                  <a:lnTo>
                    <a:pt x="179" y="463"/>
                  </a:lnTo>
                  <a:lnTo>
                    <a:pt x="312" y="455"/>
                  </a:lnTo>
                  <a:lnTo>
                    <a:pt x="335" y="413"/>
                  </a:lnTo>
                  <a:lnTo>
                    <a:pt x="434" y="524"/>
                  </a:lnTo>
                  <a:lnTo>
                    <a:pt x="502" y="502"/>
                  </a:lnTo>
                  <a:lnTo>
                    <a:pt x="513" y="424"/>
                  </a:lnTo>
                  <a:lnTo>
                    <a:pt x="562" y="459"/>
                  </a:lnTo>
                  <a:lnTo>
                    <a:pt x="570" y="383"/>
                  </a:lnTo>
                  <a:lnTo>
                    <a:pt x="510" y="344"/>
                  </a:lnTo>
                  <a:lnTo>
                    <a:pt x="513" y="104"/>
                  </a:lnTo>
                  <a:lnTo>
                    <a:pt x="460" y="61"/>
                  </a:lnTo>
                  <a:lnTo>
                    <a:pt x="403" y="137"/>
                  </a:lnTo>
                  <a:lnTo>
                    <a:pt x="2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222"/>
            <p:cNvSpPr>
              <a:spLocks/>
            </p:cNvSpPr>
            <p:nvPr/>
          </p:nvSpPr>
          <p:spPr bwMode="auto">
            <a:xfrm>
              <a:off x="2411413" y="1020763"/>
              <a:ext cx="112713" cy="127000"/>
            </a:xfrm>
            <a:custGeom>
              <a:avLst/>
              <a:gdLst>
                <a:gd name="T0" fmla="*/ 75 w 212"/>
                <a:gd name="T1" fmla="*/ 65 h 240"/>
                <a:gd name="T2" fmla="*/ 26 w 212"/>
                <a:gd name="T3" fmla="*/ 41 h 240"/>
                <a:gd name="T4" fmla="*/ 0 w 212"/>
                <a:gd name="T5" fmla="*/ 76 h 240"/>
                <a:gd name="T6" fmla="*/ 52 w 212"/>
                <a:gd name="T7" fmla="*/ 160 h 240"/>
                <a:gd name="T8" fmla="*/ 56 w 212"/>
                <a:gd name="T9" fmla="*/ 240 h 240"/>
                <a:gd name="T10" fmla="*/ 170 w 212"/>
                <a:gd name="T11" fmla="*/ 171 h 240"/>
                <a:gd name="T12" fmla="*/ 170 w 212"/>
                <a:gd name="T13" fmla="*/ 72 h 240"/>
                <a:gd name="T14" fmla="*/ 212 w 212"/>
                <a:gd name="T15" fmla="*/ 30 h 240"/>
                <a:gd name="T16" fmla="*/ 170 w 212"/>
                <a:gd name="T17" fmla="*/ 0 h 240"/>
                <a:gd name="T18" fmla="*/ 101 w 212"/>
                <a:gd name="T19" fmla="*/ 0 h 240"/>
                <a:gd name="T20" fmla="*/ 75 w 212"/>
                <a:gd name="T21" fmla="*/ 6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2" h="240">
                  <a:moveTo>
                    <a:pt x="75" y="65"/>
                  </a:moveTo>
                  <a:lnTo>
                    <a:pt x="26" y="41"/>
                  </a:lnTo>
                  <a:lnTo>
                    <a:pt x="0" y="76"/>
                  </a:lnTo>
                  <a:lnTo>
                    <a:pt x="52" y="160"/>
                  </a:lnTo>
                  <a:lnTo>
                    <a:pt x="56" y="240"/>
                  </a:lnTo>
                  <a:lnTo>
                    <a:pt x="170" y="171"/>
                  </a:lnTo>
                  <a:lnTo>
                    <a:pt x="170" y="72"/>
                  </a:lnTo>
                  <a:lnTo>
                    <a:pt x="212" y="30"/>
                  </a:lnTo>
                  <a:lnTo>
                    <a:pt x="170" y="0"/>
                  </a:lnTo>
                  <a:lnTo>
                    <a:pt x="101" y="0"/>
                  </a:lnTo>
                  <a:lnTo>
                    <a:pt x="75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223"/>
            <p:cNvSpPr>
              <a:spLocks/>
            </p:cNvSpPr>
            <p:nvPr/>
          </p:nvSpPr>
          <p:spPr bwMode="auto">
            <a:xfrm>
              <a:off x="2538413" y="1036638"/>
              <a:ext cx="131763" cy="76200"/>
            </a:xfrm>
            <a:custGeom>
              <a:avLst/>
              <a:gdLst>
                <a:gd name="T0" fmla="*/ 80 w 251"/>
                <a:gd name="T1" fmla="*/ 0 h 145"/>
                <a:gd name="T2" fmla="*/ 0 w 251"/>
                <a:gd name="T3" fmla="*/ 65 h 145"/>
                <a:gd name="T4" fmla="*/ 19 w 251"/>
                <a:gd name="T5" fmla="*/ 145 h 145"/>
                <a:gd name="T6" fmla="*/ 68 w 251"/>
                <a:gd name="T7" fmla="*/ 145 h 145"/>
                <a:gd name="T8" fmla="*/ 91 w 251"/>
                <a:gd name="T9" fmla="*/ 103 h 145"/>
                <a:gd name="T10" fmla="*/ 126 w 251"/>
                <a:gd name="T11" fmla="*/ 137 h 145"/>
                <a:gd name="T12" fmla="*/ 159 w 251"/>
                <a:gd name="T13" fmla="*/ 134 h 145"/>
                <a:gd name="T14" fmla="*/ 251 w 251"/>
                <a:gd name="T15" fmla="*/ 57 h 145"/>
                <a:gd name="T16" fmla="*/ 80 w 251"/>
                <a:gd name="T1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1" h="145">
                  <a:moveTo>
                    <a:pt x="80" y="0"/>
                  </a:moveTo>
                  <a:lnTo>
                    <a:pt x="0" y="65"/>
                  </a:lnTo>
                  <a:lnTo>
                    <a:pt x="19" y="145"/>
                  </a:lnTo>
                  <a:lnTo>
                    <a:pt x="68" y="145"/>
                  </a:lnTo>
                  <a:lnTo>
                    <a:pt x="91" y="103"/>
                  </a:lnTo>
                  <a:lnTo>
                    <a:pt x="126" y="137"/>
                  </a:lnTo>
                  <a:lnTo>
                    <a:pt x="159" y="134"/>
                  </a:lnTo>
                  <a:lnTo>
                    <a:pt x="251" y="57"/>
                  </a:ln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224"/>
            <p:cNvSpPr>
              <a:spLocks/>
            </p:cNvSpPr>
            <p:nvPr/>
          </p:nvSpPr>
          <p:spPr bwMode="auto">
            <a:xfrm>
              <a:off x="2565400" y="968375"/>
              <a:ext cx="57150" cy="36513"/>
            </a:xfrm>
            <a:custGeom>
              <a:avLst/>
              <a:gdLst>
                <a:gd name="T0" fmla="*/ 19 w 106"/>
                <a:gd name="T1" fmla="*/ 0 h 69"/>
                <a:gd name="T2" fmla="*/ 0 w 106"/>
                <a:gd name="T3" fmla="*/ 39 h 69"/>
                <a:gd name="T4" fmla="*/ 84 w 106"/>
                <a:gd name="T5" fmla="*/ 69 h 69"/>
                <a:gd name="T6" fmla="*/ 106 w 106"/>
                <a:gd name="T7" fmla="*/ 35 h 69"/>
                <a:gd name="T8" fmla="*/ 19 w 106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69">
                  <a:moveTo>
                    <a:pt x="19" y="0"/>
                  </a:moveTo>
                  <a:lnTo>
                    <a:pt x="0" y="39"/>
                  </a:lnTo>
                  <a:lnTo>
                    <a:pt x="84" y="69"/>
                  </a:lnTo>
                  <a:lnTo>
                    <a:pt x="106" y="35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225"/>
            <p:cNvSpPr>
              <a:spLocks/>
            </p:cNvSpPr>
            <p:nvPr/>
          </p:nvSpPr>
          <p:spPr bwMode="auto">
            <a:xfrm>
              <a:off x="2479675" y="892175"/>
              <a:ext cx="92075" cy="85725"/>
            </a:xfrm>
            <a:custGeom>
              <a:avLst/>
              <a:gdLst>
                <a:gd name="T0" fmla="*/ 133 w 175"/>
                <a:gd name="T1" fmla="*/ 0 h 161"/>
                <a:gd name="T2" fmla="*/ 49 w 175"/>
                <a:gd name="T3" fmla="*/ 11 h 161"/>
                <a:gd name="T4" fmla="*/ 0 w 175"/>
                <a:gd name="T5" fmla="*/ 58 h 161"/>
                <a:gd name="T6" fmla="*/ 91 w 175"/>
                <a:gd name="T7" fmla="*/ 61 h 161"/>
                <a:gd name="T8" fmla="*/ 64 w 175"/>
                <a:gd name="T9" fmla="*/ 130 h 161"/>
                <a:gd name="T10" fmla="*/ 84 w 175"/>
                <a:gd name="T11" fmla="*/ 161 h 161"/>
                <a:gd name="T12" fmla="*/ 110 w 175"/>
                <a:gd name="T13" fmla="*/ 157 h 161"/>
                <a:gd name="T14" fmla="*/ 175 w 175"/>
                <a:gd name="T15" fmla="*/ 54 h 161"/>
                <a:gd name="T16" fmla="*/ 133 w 175"/>
                <a:gd name="T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161">
                  <a:moveTo>
                    <a:pt x="133" y="0"/>
                  </a:moveTo>
                  <a:lnTo>
                    <a:pt x="49" y="11"/>
                  </a:lnTo>
                  <a:lnTo>
                    <a:pt x="0" y="58"/>
                  </a:lnTo>
                  <a:lnTo>
                    <a:pt x="91" y="61"/>
                  </a:lnTo>
                  <a:lnTo>
                    <a:pt x="64" y="130"/>
                  </a:lnTo>
                  <a:lnTo>
                    <a:pt x="84" y="161"/>
                  </a:lnTo>
                  <a:lnTo>
                    <a:pt x="110" y="157"/>
                  </a:lnTo>
                  <a:lnTo>
                    <a:pt x="175" y="54"/>
                  </a:lnTo>
                  <a:lnTo>
                    <a:pt x="1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226"/>
            <p:cNvSpPr>
              <a:spLocks/>
            </p:cNvSpPr>
            <p:nvPr/>
          </p:nvSpPr>
          <p:spPr bwMode="auto">
            <a:xfrm>
              <a:off x="2601913" y="877888"/>
              <a:ext cx="279400" cy="204788"/>
            </a:xfrm>
            <a:custGeom>
              <a:avLst/>
              <a:gdLst>
                <a:gd name="T0" fmla="*/ 45 w 528"/>
                <a:gd name="T1" fmla="*/ 0 h 385"/>
                <a:gd name="T2" fmla="*/ 0 w 528"/>
                <a:gd name="T3" fmla="*/ 15 h 385"/>
                <a:gd name="T4" fmla="*/ 7 w 528"/>
                <a:gd name="T5" fmla="*/ 76 h 385"/>
                <a:gd name="T6" fmla="*/ 83 w 528"/>
                <a:gd name="T7" fmla="*/ 126 h 385"/>
                <a:gd name="T8" fmla="*/ 87 w 528"/>
                <a:gd name="T9" fmla="*/ 163 h 385"/>
                <a:gd name="T10" fmla="*/ 64 w 528"/>
                <a:gd name="T11" fmla="*/ 187 h 385"/>
                <a:gd name="T12" fmla="*/ 76 w 528"/>
                <a:gd name="T13" fmla="*/ 263 h 385"/>
                <a:gd name="T14" fmla="*/ 368 w 528"/>
                <a:gd name="T15" fmla="*/ 359 h 385"/>
                <a:gd name="T16" fmla="*/ 447 w 528"/>
                <a:gd name="T17" fmla="*/ 385 h 385"/>
                <a:gd name="T18" fmla="*/ 528 w 528"/>
                <a:gd name="T19" fmla="*/ 316 h 385"/>
                <a:gd name="T20" fmla="*/ 432 w 528"/>
                <a:gd name="T21" fmla="*/ 240 h 385"/>
                <a:gd name="T22" fmla="*/ 345 w 528"/>
                <a:gd name="T23" fmla="*/ 263 h 385"/>
                <a:gd name="T24" fmla="*/ 224 w 528"/>
                <a:gd name="T25" fmla="*/ 251 h 385"/>
                <a:gd name="T26" fmla="*/ 178 w 528"/>
                <a:gd name="T27" fmla="*/ 206 h 385"/>
                <a:gd name="T28" fmla="*/ 167 w 528"/>
                <a:gd name="T29" fmla="*/ 79 h 385"/>
                <a:gd name="T30" fmla="*/ 91 w 528"/>
                <a:gd name="T31" fmla="*/ 41 h 385"/>
                <a:gd name="T32" fmla="*/ 45 w 528"/>
                <a:gd name="T33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8" h="385">
                  <a:moveTo>
                    <a:pt x="45" y="0"/>
                  </a:moveTo>
                  <a:lnTo>
                    <a:pt x="0" y="15"/>
                  </a:lnTo>
                  <a:lnTo>
                    <a:pt x="7" y="76"/>
                  </a:lnTo>
                  <a:lnTo>
                    <a:pt x="83" y="126"/>
                  </a:lnTo>
                  <a:lnTo>
                    <a:pt x="87" y="163"/>
                  </a:lnTo>
                  <a:lnTo>
                    <a:pt x="64" y="187"/>
                  </a:lnTo>
                  <a:lnTo>
                    <a:pt x="76" y="263"/>
                  </a:lnTo>
                  <a:lnTo>
                    <a:pt x="368" y="359"/>
                  </a:lnTo>
                  <a:lnTo>
                    <a:pt x="447" y="385"/>
                  </a:lnTo>
                  <a:lnTo>
                    <a:pt x="528" y="316"/>
                  </a:lnTo>
                  <a:lnTo>
                    <a:pt x="432" y="240"/>
                  </a:lnTo>
                  <a:lnTo>
                    <a:pt x="345" y="263"/>
                  </a:lnTo>
                  <a:lnTo>
                    <a:pt x="224" y="251"/>
                  </a:lnTo>
                  <a:lnTo>
                    <a:pt x="178" y="206"/>
                  </a:lnTo>
                  <a:lnTo>
                    <a:pt x="167" y="79"/>
                  </a:lnTo>
                  <a:lnTo>
                    <a:pt x="91" y="41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27"/>
            <p:cNvSpPr>
              <a:spLocks/>
            </p:cNvSpPr>
            <p:nvPr/>
          </p:nvSpPr>
          <p:spPr bwMode="auto">
            <a:xfrm>
              <a:off x="2628900" y="1084263"/>
              <a:ext cx="482600" cy="601663"/>
            </a:xfrm>
            <a:custGeom>
              <a:avLst/>
              <a:gdLst>
                <a:gd name="T0" fmla="*/ 234 w 911"/>
                <a:gd name="T1" fmla="*/ 8 h 1136"/>
                <a:gd name="T2" fmla="*/ 151 w 911"/>
                <a:gd name="T3" fmla="*/ 0 h 1136"/>
                <a:gd name="T4" fmla="*/ 52 w 911"/>
                <a:gd name="T5" fmla="*/ 38 h 1136"/>
                <a:gd name="T6" fmla="*/ 0 w 911"/>
                <a:gd name="T7" fmla="*/ 110 h 1136"/>
                <a:gd name="T8" fmla="*/ 15 w 911"/>
                <a:gd name="T9" fmla="*/ 309 h 1136"/>
                <a:gd name="T10" fmla="*/ 177 w 911"/>
                <a:gd name="T11" fmla="*/ 317 h 1136"/>
                <a:gd name="T12" fmla="*/ 333 w 911"/>
                <a:gd name="T13" fmla="*/ 393 h 1136"/>
                <a:gd name="T14" fmla="*/ 443 w 911"/>
                <a:gd name="T15" fmla="*/ 520 h 1136"/>
                <a:gd name="T16" fmla="*/ 527 w 911"/>
                <a:gd name="T17" fmla="*/ 516 h 1136"/>
                <a:gd name="T18" fmla="*/ 504 w 911"/>
                <a:gd name="T19" fmla="*/ 635 h 1136"/>
                <a:gd name="T20" fmla="*/ 428 w 911"/>
                <a:gd name="T21" fmla="*/ 761 h 1136"/>
                <a:gd name="T22" fmla="*/ 345 w 911"/>
                <a:gd name="T23" fmla="*/ 799 h 1136"/>
                <a:gd name="T24" fmla="*/ 284 w 911"/>
                <a:gd name="T25" fmla="*/ 787 h 1136"/>
                <a:gd name="T26" fmla="*/ 253 w 911"/>
                <a:gd name="T27" fmla="*/ 761 h 1136"/>
                <a:gd name="T28" fmla="*/ 208 w 911"/>
                <a:gd name="T29" fmla="*/ 822 h 1136"/>
                <a:gd name="T30" fmla="*/ 227 w 911"/>
                <a:gd name="T31" fmla="*/ 884 h 1136"/>
                <a:gd name="T32" fmla="*/ 292 w 911"/>
                <a:gd name="T33" fmla="*/ 887 h 1136"/>
                <a:gd name="T34" fmla="*/ 371 w 911"/>
                <a:gd name="T35" fmla="*/ 849 h 1136"/>
                <a:gd name="T36" fmla="*/ 440 w 911"/>
                <a:gd name="T37" fmla="*/ 1025 h 1136"/>
                <a:gd name="T38" fmla="*/ 611 w 911"/>
                <a:gd name="T39" fmla="*/ 1136 h 1136"/>
                <a:gd name="T40" fmla="*/ 728 w 911"/>
                <a:gd name="T41" fmla="*/ 987 h 1136"/>
                <a:gd name="T42" fmla="*/ 630 w 911"/>
                <a:gd name="T43" fmla="*/ 826 h 1136"/>
                <a:gd name="T44" fmla="*/ 687 w 911"/>
                <a:gd name="T45" fmla="*/ 761 h 1136"/>
                <a:gd name="T46" fmla="*/ 767 w 911"/>
                <a:gd name="T47" fmla="*/ 895 h 1136"/>
                <a:gd name="T48" fmla="*/ 911 w 911"/>
                <a:gd name="T49" fmla="*/ 769 h 1136"/>
                <a:gd name="T50" fmla="*/ 885 w 911"/>
                <a:gd name="T51" fmla="*/ 711 h 1136"/>
                <a:gd name="T52" fmla="*/ 785 w 911"/>
                <a:gd name="T53" fmla="*/ 742 h 1136"/>
                <a:gd name="T54" fmla="*/ 717 w 911"/>
                <a:gd name="T55" fmla="*/ 555 h 1136"/>
                <a:gd name="T56" fmla="*/ 782 w 911"/>
                <a:gd name="T57" fmla="*/ 447 h 1136"/>
                <a:gd name="T58" fmla="*/ 652 w 911"/>
                <a:gd name="T59" fmla="*/ 310 h 1136"/>
                <a:gd name="T60" fmla="*/ 580 w 911"/>
                <a:gd name="T61" fmla="*/ 360 h 1136"/>
                <a:gd name="T62" fmla="*/ 512 w 911"/>
                <a:gd name="T63" fmla="*/ 211 h 1136"/>
                <a:gd name="T64" fmla="*/ 368 w 911"/>
                <a:gd name="T65" fmla="*/ 229 h 1136"/>
                <a:gd name="T66" fmla="*/ 330 w 911"/>
                <a:gd name="T67" fmla="*/ 49 h 1136"/>
                <a:gd name="T68" fmla="*/ 213 w 911"/>
                <a:gd name="T69" fmla="*/ 129 h 1136"/>
                <a:gd name="T70" fmla="*/ 201 w 911"/>
                <a:gd name="T71" fmla="*/ 229 h 1136"/>
                <a:gd name="T72" fmla="*/ 137 w 911"/>
                <a:gd name="T73" fmla="*/ 229 h 1136"/>
                <a:gd name="T74" fmla="*/ 144 w 911"/>
                <a:gd name="T75" fmla="*/ 142 h 1136"/>
                <a:gd name="T76" fmla="*/ 234 w 911"/>
                <a:gd name="T77" fmla="*/ 8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1" h="1136">
                  <a:moveTo>
                    <a:pt x="234" y="8"/>
                  </a:moveTo>
                  <a:lnTo>
                    <a:pt x="151" y="0"/>
                  </a:lnTo>
                  <a:lnTo>
                    <a:pt x="52" y="38"/>
                  </a:lnTo>
                  <a:lnTo>
                    <a:pt x="0" y="110"/>
                  </a:lnTo>
                  <a:lnTo>
                    <a:pt x="15" y="309"/>
                  </a:lnTo>
                  <a:lnTo>
                    <a:pt x="177" y="317"/>
                  </a:lnTo>
                  <a:lnTo>
                    <a:pt x="333" y="393"/>
                  </a:lnTo>
                  <a:lnTo>
                    <a:pt x="443" y="520"/>
                  </a:lnTo>
                  <a:lnTo>
                    <a:pt x="527" y="516"/>
                  </a:lnTo>
                  <a:lnTo>
                    <a:pt x="504" y="635"/>
                  </a:lnTo>
                  <a:lnTo>
                    <a:pt x="428" y="761"/>
                  </a:lnTo>
                  <a:lnTo>
                    <a:pt x="345" y="799"/>
                  </a:lnTo>
                  <a:lnTo>
                    <a:pt x="284" y="787"/>
                  </a:lnTo>
                  <a:lnTo>
                    <a:pt x="253" y="761"/>
                  </a:lnTo>
                  <a:lnTo>
                    <a:pt x="208" y="822"/>
                  </a:lnTo>
                  <a:lnTo>
                    <a:pt x="227" y="884"/>
                  </a:lnTo>
                  <a:lnTo>
                    <a:pt x="292" y="887"/>
                  </a:lnTo>
                  <a:lnTo>
                    <a:pt x="371" y="849"/>
                  </a:lnTo>
                  <a:lnTo>
                    <a:pt x="440" y="1025"/>
                  </a:lnTo>
                  <a:lnTo>
                    <a:pt x="611" y="1136"/>
                  </a:lnTo>
                  <a:lnTo>
                    <a:pt x="728" y="987"/>
                  </a:lnTo>
                  <a:lnTo>
                    <a:pt x="630" y="826"/>
                  </a:lnTo>
                  <a:lnTo>
                    <a:pt x="687" y="761"/>
                  </a:lnTo>
                  <a:lnTo>
                    <a:pt x="767" y="895"/>
                  </a:lnTo>
                  <a:lnTo>
                    <a:pt x="911" y="769"/>
                  </a:lnTo>
                  <a:lnTo>
                    <a:pt x="885" y="711"/>
                  </a:lnTo>
                  <a:lnTo>
                    <a:pt x="785" y="742"/>
                  </a:lnTo>
                  <a:lnTo>
                    <a:pt x="717" y="555"/>
                  </a:lnTo>
                  <a:lnTo>
                    <a:pt x="782" y="447"/>
                  </a:lnTo>
                  <a:lnTo>
                    <a:pt x="652" y="310"/>
                  </a:lnTo>
                  <a:lnTo>
                    <a:pt x="580" y="360"/>
                  </a:lnTo>
                  <a:lnTo>
                    <a:pt x="512" y="211"/>
                  </a:lnTo>
                  <a:lnTo>
                    <a:pt x="368" y="229"/>
                  </a:lnTo>
                  <a:lnTo>
                    <a:pt x="330" y="49"/>
                  </a:lnTo>
                  <a:lnTo>
                    <a:pt x="213" y="129"/>
                  </a:lnTo>
                  <a:lnTo>
                    <a:pt x="201" y="229"/>
                  </a:lnTo>
                  <a:lnTo>
                    <a:pt x="137" y="229"/>
                  </a:lnTo>
                  <a:lnTo>
                    <a:pt x="144" y="142"/>
                  </a:lnTo>
                  <a:lnTo>
                    <a:pt x="23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28"/>
            <p:cNvSpPr>
              <a:spLocks/>
            </p:cNvSpPr>
            <p:nvPr/>
          </p:nvSpPr>
          <p:spPr bwMode="auto">
            <a:xfrm>
              <a:off x="2827338" y="1125538"/>
              <a:ext cx="80963" cy="46038"/>
            </a:xfrm>
            <a:custGeom>
              <a:avLst/>
              <a:gdLst>
                <a:gd name="T0" fmla="*/ 31 w 152"/>
                <a:gd name="T1" fmla="*/ 0 h 87"/>
                <a:gd name="T2" fmla="*/ 0 w 152"/>
                <a:gd name="T3" fmla="*/ 30 h 87"/>
                <a:gd name="T4" fmla="*/ 26 w 152"/>
                <a:gd name="T5" fmla="*/ 72 h 87"/>
                <a:gd name="T6" fmla="*/ 152 w 152"/>
                <a:gd name="T7" fmla="*/ 87 h 87"/>
                <a:gd name="T8" fmla="*/ 72 w 152"/>
                <a:gd name="T9" fmla="*/ 3 h 87"/>
                <a:gd name="T10" fmla="*/ 31 w 152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87">
                  <a:moveTo>
                    <a:pt x="31" y="0"/>
                  </a:moveTo>
                  <a:lnTo>
                    <a:pt x="0" y="30"/>
                  </a:lnTo>
                  <a:lnTo>
                    <a:pt x="26" y="72"/>
                  </a:lnTo>
                  <a:lnTo>
                    <a:pt x="152" y="87"/>
                  </a:lnTo>
                  <a:lnTo>
                    <a:pt x="72" y="3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29"/>
            <p:cNvSpPr>
              <a:spLocks/>
            </p:cNvSpPr>
            <p:nvPr/>
          </p:nvSpPr>
          <p:spPr bwMode="auto">
            <a:xfrm>
              <a:off x="2735263" y="684213"/>
              <a:ext cx="544513" cy="315913"/>
            </a:xfrm>
            <a:custGeom>
              <a:avLst/>
              <a:gdLst>
                <a:gd name="T0" fmla="*/ 83 w 1028"/>
                <a:gd name="T1" fmla="*/ 402 h 597"/>
                <a:gd name="T2" fmla="*/ 83 w 1028"/>
                <a:gd name="T3" fmla="*/ 436 h 597"/>
                <a:gd name="T4" fmla="*/ 0 w 1028"/>
                <a:gd name="T5" fmla="*/ 455 h 597"/>
                <a:gd name="T6" fmla="*/ 22 w 1028"/>
                <a:gd name="T7" fmla="*/ 494 h 597"/>
                <a:gd name="T8" fmla="*/ 117 w 1028"/>
                <a:gd name="T9" fmla="*/ 532 h 597"/>
                <a:gd name="T10" fmla="*/ 223 w 1028"/>
                <a:gd name="T11" fmla="*/ 543 h 597"/>
                <a:gd name="T12" fmla="*/ 299 w 1028"/>
                <a:gd name="T13" fmla="*/ 597 h 597"/>
                <a:gd name="T14" fmla="*/ 375 w 1028"/>
                <a:gd name="T15" fmla="*/ 555 h 597"/>
                <a:gd name="T16" fmla="*/ 322 w 1028"/>
                <a:gd name="T17" fmla="*/ 501 h 597"/>
                <a:gd name="T18" fmla="*/ 390 w 1028"/>
                <a:gd name="T19" fmla="*/ 501 h 597"/>
                <a:gd name="T20" fmla="*/ 432 w 1028"/>
                <a:gd name="T21" fmla="*/ 455 h 597"/>
                <a:gd name="T22" fmla="*/ 534 w 1028"/>
                <a:gd name="T23" fmla="*/ 440 h 597"/>
                <a:gd name="T24" fmla="*/ 534 w 1028"/>
                <a:gd name="T25" fmla="*/ 417 h 597"/>
                <a:gd name="T26" fmla="*/ 478 w 1028"/>
                <a:gd name="T27" fmla="*/ 379 h 597"/>
                <a:gd name="T28" fmla="*/ 485 w 1028"/>
                <a:gd name="T29" fmla="*/ 336 h 597"/>
                <a:gd name="T30" fmla="*/ 645 w 1028"/>
                <a:gd name="T31" fmla="*/ 364 h 597"/>
                <a:gd name="T32" fmla="*/ 880 w 1028"/>
                <a:gd name="T33" fmla="*/ 271 h 597"/>
                <a:gd name="T34" fmla="*/ 792 w 1028"/>
                <a:gd name="T35" fmla="*/ 245 h 597"/>
                <a:gd name="T36" fmla="*/ 816 w 1028"/>
                <a:gd name="T37" fmla="*/ 214 h 597"/>
                <a:gd name="T38" fmla="*/ 997 w 1028"/>
                <a:gd name="T39" fmla="*/ 214 h 597"/>
                <a:gd name="T40" fmla="*/ 1028 w 1028"/>
                <a:gd name="T41" fmla="*/ 184 h 597"/>
                <a:gd name="T42" fmla="*/ 659 w 1028"/>
                <a:gd name="T43" fmla="*/ 53 h 597"/>
                <a:gd name="T44" fmla="*/ 572 w 1028"/>
                <a:gd name="T45" fmla="*/ 23 h 597"/>
                <a:gd name="T46" fmla="*/ 478 w 1028"/>
                <a:gd name="T47" fmla="*/ 92 h 597"/>
                <a:gd name="T48" fmla="*/ 371 w 1028"/>
                <a:gd name="T49" fmla="*/ 3 h 597"/>
                <a:gd name="T50" fmla="*/ 314 w 1028"/>
                <a:gd name="T51" fmla="*/ 0 h 597"/>
                <a:gd name="T52" fmla="*/ 303 w 1028"/>
                <a:gd name="T53" fmla="*/ 72 h 597"/>
                <a:gd name="T54" fmla="*/ 231 w 1028"/>
                <a:gd name="T55" fmla="*/ 7 h 597"/>
                <a:gd name="T56" fmla="*/ 147 w 1028"/>
                <a:gd name="T57" fmla="*/ 35 h 597"/>
                <a:gd name="T58" fmla="*/ 162 w 1028"/>
                <a:gd name="T59" fmla="*/ 76 h 597"/>
                <a:gd name="T60" fmla="*/ 288 w 1028"/>
                <a:gd name="T61" fmla="*/ 103 h 597"/>
                <a:gd name="T62" fmla="*/ 280 w 1028"/>
                <a:gd name="T63" fmla="*/ 165 h 597"/>
                <a:gd name="T64" fmla="*/ 349 w 1028"/>
                <a:gd name="T65" fmla="*/ 206 h 597"/>
                <a:gd name="T66" fmla="*/ 515 w 1028"/>
                <a:gd name="T67" fmla="*/ 165 h 597"/>
                <a:gd name="T68" fmla="*/ 519 w 1028"/>
                <a:gd name="T69" fmla="*/ 222 h 597"/>
                <a:gd name="T70" fmla="*/ 382 w 1028"/>
                <a:gd name="T71" fmla="*/ 287 h 597"/>
                <a:gd name="T72" fmla="*/ 299 w 1028"/>
                <a:gd name="T73" fmla="*/ 222 h 597"/>
                <a:gd name="T74" fmla="*/ 223 w 1028"/>
                <a:gd name="T75" fmla="*/ 230 h 597"/>
                <a:gd name="T76" fmla="*/ 299 w 1028"/>
                <a:gd name="T77" fmla="*/ 336 h 597"/>
                <a:gd name="T78" fmla="*/ 261 w 1028"/>
                <a:gd name="T79" fmla="*/ 356 h 597"/>
                <a:gd name="T80" fmla="*/ 204 w 1028"/>
                <a:gd name="T81" fmla="*/ 306 h 597"/>
                <a:gd name="T82" fmla="*/ 162 w 1028"/>
                <a:gd name="T83" fmla="*/ 333 h 597"/>
                <a:gd name="T84" fmla="*/ 200 w 1028"/>
                <a:gd name="T85" fmla="*/ 405 h 597"/>
                <a:gd name="T86" fmla="*/ 264 w 1028"/>
                <a:gd name="T87" fmla="*/ 405 h 597"/>
                <a:gd name="T88" fmla="*/ 249 w 1028"/>
                <a:gd name="T89" fmla="*/ 474 h 597"/>
                <a:gd name="T90" fmla="*/ 196 w 1028"/>
                <a:gd name="T91" fmla="*/ 466 h 597"/>
                <a:gd name="T92" fmla="*/ 128 w 1028"/>
                <a:gd name="T93" fmla="*/ 394 h 597"/>
                <a:gd name="T94" fmla="*/ 83 w 1028"/>
                <a:gd name="T95" fmla="*/ 402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28" h="597">
                  <a:moveTo>
                    <a:pt x="83" y="402"/>
                  </a:moveTo>
                  <a:lnTo>
                    <a:pt x="83" y="436"/>
                  </a:lnTo>
                  <a:lnTo>
                    <a:pt x="0" y="455"/>
                  </a:lnTo>
                  <a:lnTo>
                    <a:pt x="22" y="494"/>
                  </a:lnTo>
                  <a:lnTo>
                    <a:pt x="117" y="532"/>
                  </a:lnTo>
                  <a:lnTo>
                    <a:pt x="223" y="543"/>
                  </a:lnTo>
                  <a:lnTo>
                    <a:pt x="299" y="597"/>
                  </a:lnTo>
                  <a:lnTo>
                    <a:pt x="375" y="555"/>
                  </a:lnTo>
                  <a:lnTo>
                    <a:pt x="322" y="501"/>
                  </a:lnTo>
                  <a:lnTo>
                    <a:pt x="390" y="501"/>
                  </a:lnTo>
                  <a:lnTo>
                    <a:pt x="432" y="455"/>
                  </a:lnTo>
                  <a:lnTo>
                    <a:pt x="534" y="440"/>
                  </a:lnTo>
                  <a:lnTo>
                    <a:pt x="534" y="417"/>
                  </a:lnTo>
                  <a:lnTo>
                    <a:pt x="478" y="379"/>
                  </a:lnTo>
                  <a:lnTo>
                    <a:pt x="485" y="336"/>
                  </a:lnTo>
                  <a:lnTo>
                    <a:pt x="645" y="364"/>
                  </a:lnTo>
                  <a:lnTo>
                    <a:pt x="880" y="271"/>
                  </a:lnTo>
                  <a:lnTo>
                    <a:pt x="792" y="245"/>
                  </a:lnTo>
                  <a:lnTo>
                    <a:pt x="816" y="214"/>
                  </a:lnTo>
                  <a:lnTo>
                    <a:pt x="997" y="214"/>
                  </a:lnTo>
                  <a:lnTo>
                    <a:pt x="1028" y="184"/>
                  </a:lnTo>
                  <a:lnTo>
                    <a:pt x="659" y="53"/>
                  </a:lnTo>
                  <a:lnTo>
                    <a:pt x="572" y="23"/>
                  </a:lnTo>
                  <a:lnTo>
                    <a:pt x="478" y="92"/>
                  </a:lnTo>
                  <a:lnTo>
                    <a:pt x="371" y="3"/>
                  </a:lnTo>
                  <a:lnTo>
                    <a:pt x="314" y="0"/>
                  </a:lnTo>
                  <a:lnTo>
                    <a:pt x="303" y="72"/>
                  </a:lnTo>
                  <a:lnTo>
                    <a:pt x="231" y="7"/>
                  </a:lnTo>
                  <a:lnTo>
                    <a:pt x="147" y="35"/>
                  </a:lnTo>
                  <a:lnTo>
                    <a:pt x="162" y="76"/>
                  </a:lnTo>
                  <a:lnTo>
                    <a:pt x="288" y="103"/>
                  </a:lnTo>
                  <a:lnTo>
                    <a:pt x="280" y="165"/>
                  </a:lnTo>
                  <a:lnTo>
                    <a:pt x="349" y="206"/>
                  </a:lnTo>
                  <a:lnTo>
                    <a:pt x="515" y="165"/>
                  </a:lnTo>
                  <a:lnTo>
                    <a:pt x="519" y="222"/>
                  </a:lnTo>
                  <a:lnTo>
                    <a:pt x="382" y="287"/>
                  </a:lnTo>
                  <a:lnTo>
                    <a:pt x="299" y="222"/>
                  </a:lnTo>
                  <a:lnTo>
                    <a:pt x="223" y="230"/>
                  </a:lnTo>
                  <a:lnTo>
                    <a:pt x="299" y="336"/>
                  </a:lnTo>
                  <a:lnTo>
                    <a:pt x="261" y="356"/>
                  </a:lnTo>
                  <a:lnTo>
                    <a:pt x="204" y="306"/>
                  </a:lnTo>
                  <a:lnTo>
                    <a:pt x="162" y="333"/>
                  </a:lnTo>
                  <a:lnTo>
                    <a:pt x="200" y="405"/>
                  </a:lnTo>
                  <a:lnTo>
                    <a:pt x="264" y="405"/>
                  </a:lnTo>
                  <a:lnTo>
                    <a:pt x="249" y="474"/>
                  </a:lnTo>
                  <a:lnTo>
                    <a:pt x="196" y="466"/>
                  </a:lnTo>
                  <a:lnTo>
                    <a:pt x="128" y="394"/>
                  </a:lnTo>
                  <a:lnTo>
                    <a:pt x="83" y="4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230"/>
            <p:cNvSpPr>
              <a:spLocks/>
            </p:cNvSpPr>
            <p:nvPr/>
          </p:nvSpPr>
          <p:spPr bwMode="auto">
            <a:xfrm>
              <a:off x="2559050" y="1454150"/>
              <a:ext cx="130175" cy="107950"/>
            </a:xfrm>
            <a:custGeom>
              <a:avLst/>
              <a:gdLst>
                <a:gd name="T0" fmla="*/ 77 w 244"/>
                <a:gd name="T1" fmla="*/ 0 h 205"/>
                <a:gd name="T2" fmla="*/ 4 w 244"/>
                <a:gd name="T3" fmla="*/ 91 h 205"/>
                <a:gd name="T4" fmla="*/ 0 w 244"/>
                <a:gd name="T5" fmla="*/ 192 h 205"/>
                <a:gd name="T6" fmla="*/ 63 w 244"/>
                <a:gd name="T7" fmla="*/ 155 h 205"/>
                <a:gd name="T8" fmla="*/ 140 w 244"/>
                <a:gd name="T9" fmla="*/ 155 h 205"/>
                <a:gd name="T10" fmla="*/ 194 w 244"/>
                <a:gd name="T11" fmla="*/ 205 h 205"/>
                <a:gd name="T12" fmla="*/ 244 w 244"/>
                <a:gd name="T13" fmla="*/ 164 h 205"/>
                <a:gd name="T14" fmla="*/ 77 w 244"/>
                <a:gd name="T15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05">
                  <a:moveTo>
                    <a:pt x="77" y="0"/>
                  </a:moveTo>
                  <a:lnTo>
                    <a:pt x="4" y="91"/>
                  </a:lnTo>
                  <a:lnTo>
                    <a:pt x="0" y="192"/>
                  </a:lnTo>
                  <a:lnTo>
                    <a:pt x="63" y="155"/>
                  </a:lnTo>
                  <a:lnTo>
                    <a:pt x="140" y="155"/>
                  </a:lnTo>
                  <a:lnTo>
                    <a:pt x="194" y="205"/>
                  </a:lnTo>
                  <a:lnTo>
                    <a:pt x="244" y="164"/>
                  </a:lnTo>
                  <a:lnTo>
                    <a:pt x="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231"/>
            <p:cNvSpPr>
              <a:spLocks/>
            </p:cNvSpPr>
            <p:nvPr/>
          </p:nvSpPr>
          <p:spPr bwMode="auto">
            <a:xfrm>
              <a:off x="2970213" y="2081213"/>
              <a:ext cx="144463" cy="157163"/>
            </a:xfrm>
            <a:custGeom>
              <a:avLst/>
              <a:gdLst>
                <a:gd name="T0" fmla="*/ 182 w 272"/>
                <a:gd name="T1" fmla="*/ 0 h 296"/>
                <a:gd name="T2" fmla="*/ 0 w 272"/>
                <a:gd name="T3" fmla="*/ 172 h 296"/>
                <a:gd name="T4" fmla="*/ 18 w 272"/>
                <a:gd name="T5" fmla="*/ 214 h 296"/>
                <a:gd name="T6" fmla="*/ 241 w 272"/>
                <a:gd name="T7" fmla="*/ 296 h 296"/>
                <a:gd name="T8" fmla="*/ 272 w 272"/>
                <a:gd name="T9" fmla="*/ 241 h 296"/>
                <a:gd name="T10" fmla="*/ 254 w 272"/>
                <a:gd name="T11" fmla="*/ 150 h 296"/>
                <a:gd name="T12" fmla="*/ 182 w 272"/>
                <a:gd name="T13" fmla="*/ 159 h 296"/>
                <a:gd name="T14" fmla="*/ 141 w 272"/>
                <a:gd name="T15" fmla="*/ 113 h 296"/>
                <a:gd name="T16" fmla="*/ 208 w 272"/>
                <a:gd name="T17" fmla="*/ 45 h 296"/>
                <a:gd name="T18" fmla="*/ 182 w 272"/>
                <a:gd name="T19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2" h="296">
                  <a:moveTo>
                    <a:pt x="182" y="0"/>
                  </a:moveTo>
                  <a:lnTo>
                    <a:pt x="0" y="172"/>
                  </a:lnTo>
                  <a:lnTo>
                    <a:pt x="18" y="214"/>
                  </a:lnTo>
                  <a:lnTo>
                    <a:pt x="241" y="296"/>
                  </a:lnTo>
                  <a:lnTo>
                    <a:pt x="272" y="241"/>
                  </a:lnTo>
                  <a:lnTo>
                    <a:pt x="254" y="150"/>
                  </a:lnTo>
                  <a:lnTo>
                    <a:pt x="182" y="159"/>
                  </a:lnTo>
                  <a:lnTo>
                    <a:pt x="141" y="113"/>
                  </a:lnTo>
                  <a:lnTo>
                    <a:pt x="208" y="45"/>
                  </a:lnTo>
                  <a:lnTo>
                    <a:pt x="1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232"/>
            <p:cNvSpPr>
              <a:spLocks/>
            </p:cNvSpPr>
            <p:nvPr/>
          </p:nvSpPr>
          <p:spPr bwMode="auto">
            <a:xfrm>
              <a:off x="1374775" y="971550"/>
              <a:ext cx="1711325" cy="1381125"/>
            </a:xfrm>
            <a:custGeom>
              <a:avLst/>
              <a:gdLst>
                <a:gd name="T0" fmla="*/ 503 w 3233"/>
                <a:gd name="T1" fmla="*/ 51 h 2610"/>
                <a:gd name="T2" fmla="*/ 605 w 3233"/>
                <a:gd name="T3" fmla="*/ 141 h 2610"/>
                <a:gd name="T4" fmla="*/ 716 w 3233"/>
                <a:gd name="T5" fmla="*/ 103 h 2610"/>
                <a:gd name="T6" fmla="*/ 964 w 3233"/>
                <a:gd name="T7" fmla="*/ 73 h 2610"/>
                <a:gd name="T8" fmla="*/ 1040 w 3233"/>
                <a:gd name="T9" fmla="*/ 215 h 2610"/>
                <a:gd name="T10" fmla="*/ 1100 w 3233"/>
                <a:gd name="T11" fmla="*/ 159 h 2610"/>
                <a:gd name="T12" fmla="*/ 1348 w 3233"/>
                <a:gd name="T13" fmla="*/ 395 h 2610"/>
                <a:gd name="T14" fmla="*/ 1318 w 3233"/>
                <a:gd name="T15" fmla="*/ 499 h 2610"/>
                <a:gd name="T16" fmla="*/ 1514 w 3233"/>
                <a:gd name="T17" fmla="*/ 624 h 2610"/>
                <a:gd name="T18" fmla="*/ 1578 w 3233"/>
                <a:gd name="T19" fmla="*/ 503 h 2610"/>
                <a:gd name="T20" fmla="*/ 1719 w 3233"/>
                <a:gd name="T21" fmla="*/ 572 h 2610"/>
                <a:gd name="T22" fmla="*/ 1911 w 3233"/>
                <a:gd name="T23" fmla="*/ 645 h 2610"/>
                <a:gd name="T24" fmla="*/ 1957 w 3233"/>
                <a:gd name="T25" fmla="*/ 511 h 2610"/>
                <a:gd name="T26" fmla="*/ 2060 w 3233"/>
                <a:gd name="T27" fmla="*/ 533 h 2610"/>
                <a:gd name="T28" fmla="*/ 2000 w 3233"/>
                <a:gd name="T29" fmla="*/ 714 h 2610"/>
                <a:gd name="T30" fmla="*/ 2115 w 3233"/>
                <a:gd name="T31" fmla="*/ 584 h 2610"/>
                <a:gd name="T32" fmla="*/ 2076 w 3233"/>
                <a:gd name="T33" fmla="*/ 426 h 2610"/>
                <a:gd name="T34" fmla="*/ 2192 w 3233"/>
                <a:gd name="T35" fmla="*/ 318 h 2610"/>
                <a:gd name="T36" fmla="*/ 2248 w 3233"/>
                <a:gd name="T37" fmla="*/ 653 h 2610"/>
                <a:gd name="T38" fmla="*/ 2362 w 3233"/>
                <a:gd name="T39" fmla="*/ 615 h 2610"/>
                <a:gd name="T40" fmla="*/ 2380 w 3233"/>
                <a:gd name="T41" fmla="*/ 735 h 2610"/>
                <a:gd name="T42" fmla="*/ 2584 w 3233"/>
                <a:gd name="T43" fmla="*/ 662 h 2610"/>
                <a:gd name="T44" fmla="*/ 2452 w 3233"/>
                <a:gd name="T45" fmla="*/ 890 h 2610"/>
                <a:gd name="T46" fmla="*/ 2200 w 3233"/>
                <a:gd name="T47" fmla="*/ 881 h 2610"/>
                <a:gd name="T48" fmla="*/ 2175 w 3233"/>
                <a:gd name="T49" fmla="*/ 1006 h 2610"/>
                <a:gd name="T50" fmla="*/ 1894 w 3233"/>
                <a:gd name="T51" fmla="*/ 1153 h 2610"/>
                <a:gd name="T52" fmla="*/ 1744 w 3233"/>
                <a:gd name="T53" fmla="*/ 1384 h 2610"/>
                <a:gd name="T54" fmla="*/ 1867 w 3233"/>
                <a:gd name="T55" fmla="*/ 1505 h 2610"/>
                <a:gd name="T56" fmla="*/ 2188 w 3233"/>
                <a:gd name="T57" fmla="*/ 1715 h 2610"/>
                <a:gd name="T58" fmla="*/ 2140 w 3233"/>
                <a:gd name="T59" fmla="*/ 1969 h 2610"/>
                <a:gd name="T60" fmla="*/ 2260 w 3233"/>
                <a:gd name="T61" fmla="*/ 1913 h 2610"/>
                <a:gd name="T62" fmla="*/ 2376 w 3233"/>
                <a:gd name="T63" fmla="*/ 1736 h 2610"/>
                <a:gd name="T64" fmla="*/ 2436 w 3233"/>
                <a:gd name="T65" fmla="*/ 1488 h 2610"/>
                <a:gd name="T66" fmla="*/ 2742 w 3233"/>
                <a:gd name="T67" fmla="*/ 1281 h 2610"/>
                <a:gd name="T68" fmla="*/ 2794 w 3233"/>
                <a:gd name="T69" fmla="*/ 1530 h 2610"/>
                <a:gd name="T70" fmla="*/ 3028 w 3233"/>
                <a:gd name="T71" fmla="*/ 1457 h 2610"/>
                <a:gd name="T72" fmla="*/ 3228 w 3233"/>
                <a:gd name="T73" fmla="*/ 1947 h 2610"/>
                <a:gd name="T74" fmla="*/ 3063 w 3233"/>
                <a:gd name="T75" fmla="*/ 2085 h 2610"/>
                <a:gd name="T76" fmla="*/ 2811 w 3233"/>
                <a:gd name="T77" fmla="*/ 2132 h 2610"/>
                <a:gd name="T78" fmla="*/ 2576 w 3233"/>
                <a:gd name="T79" fmla="*/ 2244 h 2610"/>
                <a:gd name="T80" fmla="*/ 2777 w 3233"/>
                <a:gd name="T81" fmla="*/ 2201 h 2610"/>
                <a:gd name="T82" fmla="*/ 2768 w 3233"/>
                <a:gd name="T83" fmla="*/ 2322 h 2610"/>
                <a:gd name="T84" fmla="*/ 2823 w 3233"/>
                <a:gd name="T85" fmla="*/ 2442 h 2610"/>
                <a:gd name="T86" fmla="*/ 2900 w 3233"/>
                <a:gd name="T87" fmla="*/ 2391 h 2610"/>
                <a:gd name="T88" fmla="*/ 2879 w 3233"/>
                <a:gd name="T89" fmla="*/ 2494 h 2610"/>
                <a:gd name="T90" fmla="*/ 2726 w 3233"/>
                <a:gd name="T91" fmla="*/ 2567 h 2610"/>
                <a:gd name="T92" fmla="*/ 2649 w 3233"/>
                <a:gd name="T93" fmla="*/ 2515 h 2610"/>
                <a:gd name="T94" fmla="*/ 2631 w 3233"/>
                <a:gd name="T95" fmla="*/ 2464 h 2610"/>
                <a:gd name="T96" fmla="*/ 2598 w 3233"/>
                <a:gd name="T97" fmla="*/ 2301 h 2610"/>
                <a:gd name="T98" fmla="*/ 2499 w 3233"/>
                <a:gd name="T99" fmla="*/ 2412 h 2610"/>
                <a:gd name="T100" fmla="*/ 2120 w 3233"/>
                <a:gd name="T101" fmla="*/ 2533 h 2610"/>
                <a:gd name="T102" fmla="*/ 1860 w 3233"/>
                <a:gd name="T103" fmla="*/ 2576 h 2610"/>
                <a:gd name="T104" fmla="*/ 1911 w 3233"/>
                <a:gd name="T105" fmla="*/ 2335 h 2610"/>
                <a:gd name="T106" fmla="*/ 1781 w 3233"/>
                <a:gd name="T107" fmla="*/ 2187 h 2610"/>
                <a:gd name="T108" fmla="*/ 1521 w 3233"/>
                <a:gd name="T109" fmla="*/ 2062 h 2610"/>
                <a:gd name="T110" fmla="*/ 290 w 3233"/>
                <a:gd name="T111" fmla="*/ 1781 h 2610"/>
                <a:gd name="T112" fmla="*/ 179 w 3233"/>
                <a:gd name="T113" fmla="*/ 1592 h 2610"/>
                <a:gd name="T114" fmla="*/ 187 w 3233"/>
                <a:gd name="T115" fmla="*/ 1471 h 2610"/>
                <a:gd name="T116" fmla="*/ 137 w 3233"/>
                <a:gd name="T117" fmla="*/ 1360 h 2610"/>
                <a:gd name="T118" fmla="*/ 179 w 3233"/>
                <a:gd name="T119" fmla="*/ 912 h 2610"/>
                <a:gd name="T120" fmla="*/ 0 w 3233"/>
                <a:gd name="T121" fmla="*/ 796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33" h="2610">
                  <a:moveTo>
                    <a:pt x="469" y="0"/>
                  </a:moveTo>
                  <a:lnTo>
                    <a:pt x="503" y="51"/>
                  </a:lnTo>
                  <a:lnTo>
                    <a:pt x="519" y="120"/>
                  </a:lnTo>
                  <a:lnTo>
                    <a:pt x="605" y="141"/>
                  </a:lnTo>
                  <a:lnTo>
                    <a:pt x="664" y="77"/>
                  </a:lnTo>
                  <a:lnTo>
                    <a:pt x="716" y="103"/>
                  </a:lnTo>
                  <a:lnTo>
                    <a:pt x="861" y="116"/>
                  </a:lnTo>
                  <a:lnTo>
                    <a:pt x="964" y="73"/>
                  </a:lnTo>
                  <a:lnTo>
                    <a:pt x="980" y="215"/>
                  </a:lnTo>
                  <a:lnTo>
                    <a:pt x="1040" y="215"/>
                  </a:lnTo>
                  <a:lnTo>
                    <a:pt x="1040" y="155"/>
                  </a:lnTo>
                  <a:lnTo>
                    <a:pt x="1100" y="159"/>
                  </a:lnTo>
                  <a:lnTo>
                    <a:pt x="1249" y="335"/>
                  </a:lnTo>
                  <a:lnTo>
                    <a:pt x="1348" y="395"/>
                  </a:lnTo>
                  <a:lnTo>
                    <a:pt x="1297" y="477"/>
                  </a:lnTo>
                  <a:lnTo>
                    <a:pt x="1318" y="499"/>
                  </a:lnTo>
                  <a:lnTo>
                    <a:pt x="1509" y="537"/>
                  </a:lnTo>
                  <a:lnTo>
                    <a:pt x="1514" y="624"/>
                  </a:lnTo>
                  <a:lnTo>
                    <a:pt x="1565" y="632"/>
                  </a:lnTo>
                  <a:lnTo>
                    <a:pt x="1578" y="503"/>
                  </a:lnTo>
                  <a:lnTo>
                    <a:pt x="1659" y="482"/>
                  </a:lnTo>
                  <a:lnTo>
                    <a:pt x="1719" y="572"/>
                  </a:lnTo>
                  <a:lnTo>
                    <a:pt x="1847" y="632"/>
                  </a:lnTo>
                  <a:lnTo>
                    <a:pt x="1911" y="645"/>
                  </a:lnTo>
                  <a:lnTo>
                    <a:pt x="1953" y="593"/>
                  </a:lnTo>
                  <a:lnTo>
                    <a:pt x="1957" y="511"/>
                  </a:lnTo>
                  <a:lnTo>
                    <a:pt x="2034" y="464"/>
                  </a:lnTo>
                  <a:lnTo>
                    <a:pt x="2060" y="533"/>
                  </a:lnTo>
                  <a:lnTo>
                    <a:pt x="1991" y="653"/>
                  </a:lnTo>
                  <a:lnTo>
                    <a:pt x="2000" y="714"/>
                  </a:lnTo>
                  <a:lnTo>
                    <a:pt x="2039" y="653"/>
                  </a:lnTo>
                  <a:lnTo>
                    <a:pt x="2115" y="584"/>
                  </a:lnTo>
                  <a:lnTo>
                    <a:pt x="2119" y="495"/>
                  </a:lnTo>
                  <a:lnTo>
                    <a:pt x="2076" y="426"/>
                  </a:lnTo>
                  <a:lnTo>
                    <a:pt x="2089" y="370"/>
                  </a:lnTo>
                  <a:lnTo>
                    <a:pt x="2192" y="318"/>
                  </a:lnTo>
                  <a:lnTo>
                    <a:pt x="2239" y="353"/>
                  </a:lnTo>
                  <a:lnTo>
                    <a:pt x="2248" y="653"/>
                  </a:lnTo>
                  <a:lnTo>
                    <a:pt x="2320" y="589"/>
                  </a:lnTo>
                  <a:lnTo>
                    <a:pt x="2362" y="615"/>
                  </a:lnTo>
                  <a:lnTo>
                    <a:pt x="2303" y="718"/>
                  </a:lnTo>
                  <a:lnTo>
                    <a:pt x="2380" y="735"/>
                  </a:lnTo>
                  <a:lnTo>
                    <a:pt x="2490" y="563"/>
                  </a:lnTo>
                  <a:lnTo>
                    <a:pt x="2584" y="662"/>
                  </a:lnTo>
                  <a:lnTo>
                    <a:pt x="2546" y="838"/>
                  </a:lnTo>
                  <a:lnTo>
                    <a:pt x="2452" y="890"/>
                  </a:lnTo>
                  <a:lnTo>
                    <a:pt x="2362" y="847"/>
                  </a:lnTo>
                  <a:lnTo>
                    <a:pt x="2200" y="881"/>
                  </a:lnTo>
                  <a:lnTo>
                    <a:pt x="2217" y="937"/>
                  </a:lnTo>
                  <a:lnTo>
                    <a:pt x="2175" y="1006"/>
                  </a:lnTo>
                  <a:lnTo>
                    <a:pt x="2043" y="1036"/>
                  </a:lnTo>
                  <a:lnTo>
                    <a:pt x="1894" y="1153"/>
                  </a:lnTo>
                  <a:lnTo>
                    <a:pt x="1761" y="1328"/>
                  </a:lnTo>
                  <a:lnTo>
                    <a:pt x="1744" y="1384"/>
                  </a:lnTo>
                  <a:lnTo>
                    <a:pt x="1834" y="1418"/>
                  </a:lnTo>
                  <a:lnTo>
                    <a:pt x="1867" y="1505"/>
                  </a:lnTo>
                  <a:lnTo>
                    <a:pt x="1991" y="1630"/>
                  </a:lnTo>
                  <a:lnTo>
                    <a:pt x="2188" y="1715"/>
                  </a:lnTo>
                  <a:lnTo>
                    <a:pt x="2145" y="1913"/>
                  </a:lnTo>
                  <a:lnTo>
                    <a:pt x="2140" y="1969"/>
                  </a:lnTo>
                  <a:lnTo>
                    <a:pt x="2192" y="2003"/>
                  </a:lnTo>
                  <a:lnTo>
                    <a:pt x="2260" y="1913"/>
                  </a:lnTo>
                  <a:lnTo>
                    <a:pt x="2269" y="1741"/>
                  </a:lnTo>
                  <a:lnTo>
                    <a:pt x="2376" y="1736"/>
                  </a:lnTo>
                  <a:lnTo>
                    <a:pt x="2426" y="1638"/>
                  </a:lnTo>
                  <a:lnTo>
                    <a:pt x="2436" y="1488"/>
                  </a:lnTo>
                  <a:lnTo>
                    <a:pt x="2572" y="1221"/>
                  </a:lnTo>
                  <a:lnTo>
                    <a:pt x="2742" y="1281"/>
                  </a:lnTo>
                  <a:lnTo>
                    <a:pt x="2831" y="1406"/>
                  </a:lnTo>
                  <a:lnTo>
                    <a:pt x="2794" y="1530"/>
                  </a:lnTo>
                  <a:lnTo>
                    <a:pt x="2862" y="1569"/>
                  </a:lnTo>
                  <a:lnTo>
                    <a:pt x="3028" y="1457"/>
                  </a:lnTo>
                  <a:lnTo>
                    <a:pt x="3075" y="1763"/>
                  </a:lnTo>
                  <a:lnTo>
                    <a:pt x="3228" y="1947"/>
                  </a:lnTo>
                  <a:lnTo>
                    <a:pt x="3233" y="2042"/>
                  </a:lnTo>
                  <a:lnTo>
                    <a:pt x="3063" y="2085"/>
                  </a:lnTo>
                  <a:lnTo>
                    <a:pt x="2982" y="2171"/>
                  </a:lnTo>
                  <a:lnTo>
                    <a:pt x="2811" y="2132"/>
                  </a:lnTo>
                  <a:lnTo>
                    <a:pt x="2726" y="2128"/>
                  </a:lnTo>
                  <a:lnTo>
                    <a:pt x="2576" y="2244"/>
                  </a:lnTo>
                  <a:lnTo>
                    <a:pt x="2666" y="2222"/>
                  </a:lnTo>
                  <a:lnTo>
                    <a:pt x="2777" y="2201"/>
                  </a:lnTo>
                  <a:lnTo>
                    <a:pt x="2798" y="2228"/>
                  </a:lnTo>
                  <a:lnTo>
                    <a:pt x="2768" y="2322"/>
                  </a:lnTo>
                  <a:lnTo>
                    <a:pt x="2772" y="2407"/>
                  </a:lnTo>
                  <a:lnTo>
                    <a:pt x="2823" y="2442"/>
                  </a:lnTo>
                  <a:lnTo>
                    <a:pt x="2875" y="2430"/>
                  </a:lnTo>
                  <a:lnTo>
                    <a:pt x="2900" y="2391"/>
                  </a:lnTo>
                  <a:lnTo>
                    <a:pt x="2935" y="2391"/>
                  </a:lnTo>
                  <a:lnTo>
                    <a:pt x="2879" y="2494"/>
                  </a:lnTo>
                  <a:lnTo>
                    <a:pt x="2772" y="2498"/>
                  </a:lnTo>
                  <a:lnTo>
                    <a:pt x="2726" y="2567"/>
                  </a:lnTo>
                  <a:lnTo>
                    <a:pt x="2666" y="2567"/>
                  </a:lnTo>
                  <a:lnTo>
                    <a:pt x="2649" y="2515"/>
                  </a:lnTo>
                  <a:lnTo>
                    <a:pt x="2734" y="2430"/>
                  </a:lnTo>
                  <a:lnTo>
                    <a:pt x="2631" y="2464"/>
                  </a:lnTo>
                  <a:lnTo>
                    <a:pt x="2627" y="2318"/>
                  </a:lnTo>
                  <a:lnTo>
                    <a:pt x="2598" y="2301"/>
                  </a:lnTo>
                  <a:lnTo>
                    <a:pt x="2508" y="2339"/>
                  </a:lnTo>
                  <a:lnTo>
                    <a:pt x="2499" y="2412"/>
                  </a:lnTo>
                  <a:lnTo>
                    <a:pt x="2294" y="2412"/>
                  </a:lnTo>
                  <a:lnTo>
                    <a:pt x="2120" y="2533"/>
                  </a:lnTo>
                  <a:lnTo>
                    <a:pt x="1885" y="2610"/>
                  </a:lnTo>
                  <a:lnTo>
                    <a:pt x="1860" y="2576"/>
                  </a:lnTo>
                  <a:lnTo>
                    <a:pt x="1978" y="2399"/>
                  </a:lnTo>
                  <a:lnTo>
                    <a:pt x="1911" y="2335"/>
                  </a:lnTo>
                  <a:lnTo>
                    <a:pt x="1868" y="2253"/>
                  </a:lnTo>
                  <a:lnTo>
                    <a:pt x="1781" y="2187"/>
                  </a:lnTo>
                  <a:lnTo>
                    <a:pt x="1688" y="2179"/>
                  </a:lnTo>
                  <a:lnTo>
                    <a:pt x="1521" y="2062"/>
                  </a:lnTo>
                  <a:lnTo>
                    <a:pt x="310" y="1863"/>
                  </a:lnTo>
                  <a:lnTo>
                    <a:pt x="290" y="1781"/>
                  </a:lnTo>
                  <a:lnTo>
                    <a:pt x="179" y="1677"/>
                  </a:lnTo>
                  <a:lnTo>
                    <a:pt x="179" y="1592"/>
                  </a:lnTo>
                  <a:lnTo>
                    <a:pt x="197" y="1514"/>
                  </a:lnTo>
                  <a:lnTo>
                    <a:pt x="187" y="1471"/>
                  </a:lnTo>
                  <a:lnTo>
                    <a:pt x="145" y="1429"/>
                  </a:lnTo>
                  <a:lnTo>
                    <a:pt x="137" y="1360"/>
                  </a:lnTo>
                  <a:lnTo>
                    <a:pt x="247" y="1282"/>
                  </a:lnTo>
                  <a:lnTo>
                    <a:pt x="179" y="912"/>
                  </a:lnTo>
                  <a:lnTo>
                    <a:pt x="85" y="908"/>
                  </a:lnTo>
                  <a:lnTo>
                    <a:pt x="0" y="796"/>
                  </a:lnTo>
                  <a:lnTo>
                    <a:pt x="46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233"/>
            <p:cNvSpPr>
              <a:spLocks/>
            </p:cNvSpPr>
            <p:nvPr/>
          </p:nvSpPr>
          <p:spPr bwMode="auto">
            <a:xfrm>
              <a:off x="1360488" y="1965325"/>
              <a:ext cx="1395413" cy="903288"/>
            </a:xfrm>
            <a:custGeom>
              <a:avLst/>
              <a:gdLst>
                <a:gd name="T0" fmla="*/ 333 w 2637"/>
                <a:gd name="T1" fmla="*/ 0 h 1707"/>
                <a:gd name="T2" fmla="*/ 316 w 2637"/>
                <a:gd name="T3" fmla="*/ 69 h 1707"/>
                <a:gd name="T4" fmla="*/ 257 w 2637"/>
                <a:gd name="T5" fmla="*/ 31 h 1707"/>
                <a:gd name="T6" fmla="*/ 227 w 2637"/>
                <a:gd name="T7" fmla="*/ 31 h 1707"/>
                <a:gd name="T8" fmla="*/ 209 w 2637"/>
                <a:gd name="T9" fmla="*/ 104 h 1707"/>
                <a:gd name="T10" fmla="*/ 0 w 2637"/>
                <a:gd name="T11" fmla="*/ 573 h 1707"/>
                <a:gd name="T12" fmla="*/ 56 w 2637"/>
                <a:gd name="T13" fmla="*/ 981 h 1707"/>
                <a:gd name="T14" fmla="*/ 124 w 2637"/>
                <a:gd name="T15" fmla="*/ 1015 h 1707"/>
                <a:gd name="T16" fmla="*/ 137 w 2637"/>
                <a:gd name="T17" fmla="*/ 1127 h 1707"/>
                <a:gd name="T18" fmla="*/ 278 w 2637"/>
                <a:gd name="T19" fmla="*/ 1127 h 1707"/>
                <a:gd name="T20" fmla="*/ 414 w 2637"/>
                <a:gd name="T21" fmla="*/ 1230 h 1707"/>
                <a:gd name="T22" fmla="*/ 683 w 2637"/>
                <a:gd name="T23" fmla="*/ 1256 h 1707"/>
                <a:gd name="T24" fmla="*/ 713 w 2637"/>
                <a:gd name="T25" fmla="*/ 1393 h 1707"/>
                <a:gd name="T26" fmla="*/ 755 w 2637"/>
                <a:gd name="T27" fmla="*/ 1424 h 1707"/>
                <a:gd name="T28" fmla="*/ 815 w 2637"/>
                <a:gd name="T29" fmla="*/ 1364 h 1707"/>
                <a:gd name="T30" fmla="*/ 862 w 2637"/>
                <a:gd name="T31" fmla="*/ 1385 h 1707"/>
                <a:gd name="T32" fmla="*/ 905 w 2637"/>
                <a:gd name="T33" fmla="*/ 1583 h 1707"/>
                <a:gd name="T34" fmla="*/ 978 w 2637"/>
                <a:gd name="T35" fmla="*/ 1630 h 1707"/>
                <a:gd name="T36" fmla="*/ 1038 w 2637"/>
                <a:gd name="T37" fmla="*/ 1518 h 1707"/>
                <a:gd name="T38" fmla="*/ 1220 w 2637"/>
                <a:gd name="T39" fmla="*/ 1385 h 1707"/>
                <a:gd name="T40" fmla="*/ 1340 w 2637"/>
                <a:gd name="T41" fmla="*/ 1441 h 1707"/>
                <a:gd name="T42" fmla="*/ 1443 w 2637"/>
                <a:gd name="T43" fmla="*/ 1449 h 1707"/>
                <a:gd name="T44" fmla="*/ 1447 w 2637"/>
                <a:gd name="T45" fmla="*/ 1385 h 1707"/>
                <a:gd name="T46" fmla="*/ 1660 w 2637"/>
                <a:gd name="T47" fmla="*/ 1389 h 1707"/>
                <a:gd name="T48" fmla="*/ 1702 w 2637"/>
                <a:gd name="T49" fmla="*/ 1437 h 1707"/>
                <a:gd name="T50" fmla="*/ 1711 w 2637"/>
                <a:gd name="T51" fmla="*/ 1543 h 1707"/>
                <a:gd name="T52" fmla="*/ 1685 w 2637"/>
                <a:gd name="T53" fmla="*/ 1604 h 1707"/>
                <a:gd name="T54" fmla="*/ 1716 w 2637"/>
                <a:gd name="T55" fmla="*/ 1707 h 1707"/>
                <a:gd name="T56" fmla="*/ 1779 w 2637"/>
                <a:gd name="T57" fmla="*/ 1707 h 1707"/>
                <a:gd name="T58" fmla="*/ 1843 w 2637"/>
                <a:gd name="T59" fmla="*/ 1608 h 1707"/>
                <a:gd name="T60" fmla="*/ 1818 w 2637"/>
                <a:gd name="T61" fmla="*/ 1561 h 1707"/>
                <a:gd name="T62" fmla="*/ 1793 w 2637"/>
                <a:gd name="T63" fmla="*/ 1458 h 1707"/>
                <a:gd name="T64" fmla="*/ 1831 w 2637"/>
                <a:gd name="T65" fmla="*/ 1341 h 1707"/>
                <a:gd name="T66" fmla="*/ 2006 w 2637"/>
                <a:gd name="T67" fmla="*/ 1191 h 1707"/>
                <a:gd name="T68" fmla="*/ 2138 w 2637"/>
                <a:gd name="T69" fmla="*/ 1153 h 1707"/>
                <a:gd name="T70" fmla="*/ 2120 w 2637"/>
                <a:gd name="T71" fmla="*/ 1028 h 1707"/>
                <a:gd name="T72" fmla="*/ 2304 w 2637"/>
                <a:gd name="T73" fmla="*/ 830 h 1707"/>
                <a:gd name="T74" fmla="*/ 2488 w 2637"/>
                <a:gd name="T75" fmla="*/ 800 h 1707"/>
                <a:gd name="T76" fmla="*/ 2457 w 2637"/>
                <a:gd name="T77" fmla="*/ 697 h 1707"/>
                <a:gd name="T78" fmla="*/ 2637 w 2637"/>
                <a:gd name="T79" fmla="*/ 594 h 1707"/>
                <a:gd name="T80" fmla="*/ 2637 w 2637"/>
                <a:gd name="T81" fmla="*/ 456 h 1707"/>
                <a:gd name="T82" fmla="*/ 2620 w 2637"/>
                <a:gd name="T83" fmla="*/ 448 h 1707"/>
                <a:gd name="T84" fmla="*/ 2556 w 2637"/>
                <a:gd name="T85" fmla="*/ 469 h 1707"/>
                <a:gd name="T86" fmla="*/ 2547 w 2637"/>
                <a:gd name="T87" fmla="*/ 554 h 1707"/>
                <a:gd name="T88" fmla="*/ 2335 w 2637"/>
                <a:gd name="T89" fmla="*/ 556 h 1707"/>
                <a:gd name="T90" fmla="*/ 2167 w 2637"/>
                <a:gd name="T91" fmla="*/ 667 h 1707"/>
                <a:gd name="T92" fmla="*/ 1905 w 2637"/>
                <a:gd name="T93" fmla="*/ 753 h 1707"/>
                <a:gd name="T94" fmla="*/ 1864 w 2637"/>
                <a:gd name="T95" fmla="*/ 701 h 1707"/>
                <a:gd name="T96" fmla="*/ 1982 w 2637"/>
                <a:gd name="T97" fmla="*/ 521 h 1707"/>
                <a:gd name="T98" fmla="*/ 1924 w 2637"/>
                <a:gd name="T99" fmla="*/ 465 h 1707"/>
                <a:gd name="T100" fmla="*/ 1884 w 2637"/>
                <a:gd name="T101" fmla="*/ 389 h 1707"/>
                <a:gd name="T102" fmla="*/ 1802 w 2637"/>
                <a:gd name="T103" fmla="*/ 323 h 1707"/>
                <a:gd name="T104" fmla="*/ 1711 w 2637"/>
                <a:gd name="T105" fmla="*/ 315 h 1707"/>
                <a:gd name="T106" fmla="*/ 1542 w 2637"/>
                <a:gd name="T107" fmla="*/ 199 h 1707"/>
                <a:gd name="T108" fmla="*/ 333 w 2637"/>
                <a:gd name="T109" fmla="*/ 0 h 1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37" h="1707">
                  <a:moveTo>
                    <a:pt x="333" y="0"/>
                  </a:moveTo>
                  <a:lnTo>
                    <a:pt x="316" y="69"/>
                  </a:lnTo>
                  <a:lnTo>
                    <a:pt x="257" y="31"/>
                  </a:lnTo>
                  <a:lnTo>
                    <a:pt x="227" y="31"/>
                  </a:lnTo>
                  <a:lnTo>
                    <a:pt x="209" y="104"/>
                  </a:lnTo>
                  <a:lnTo>
                    <a:pt x="0" y="573"/>
                  </a:lnTo>
                  <a:lnTo>
                    <a:pt x="56" y="981"/>
                  </a:lnTo>
                  <a:lnTo>
                    <a:pt x="124" y="1015"/>
                  </a:lnTo>
                  <a:lnTo>
                    <a:pt x="137" y="1127"/>
                  </a:lnTo>
                  <a:lnTo>
                    <a:pt x="278" y="1127"/>
                  </a:lnTo>
                  <a:lnTo>
                    <a:pt x="414" y="1230"/>
                  </a:lnTo>
                  <a:lnTo>
                    <a:pt x="683" y="1256"/>
                  </a:lnTo>
                  <a:lnTo>
                    <a:pt x="713" y="1393"/>
                  </a:lnTo>
                  <a:lnTo>
                    <a:pt x="755" y="1424"/>
                  </a:lnTo>
                  <a:lnTo>
                    <a:pt x="815" y="1364"/>
                  </a:lnTo>
                  <a:lnTo>
                    <a:pt x="862" y="1385"/>
                  </a:lnTo>
                  <a:lnTo>
                    <a:pt x="905" y="1583"/>
                  </a:lnTo>
                  <a:lnTo>
                    <a:pt x="978" y="1630"/>
                  </a:lnTo>
                  <a:lnTo>
                    <a:pt x="1038" y="1518"/>
                  </a:lnTo>
                  <a:lnTo>
                    <a:pt x="1220" y="1385"/>
                  </a:lnTo>
                  <a:lnTo>
                    <a:pt x="1340" y="1441"/>
                  </a:lnTo>
                  <a:lnTo>
                    <a:pt x="1443" y="1449"/>
                  </a:lnTo>
                  <a:lnTo>
                    <a:pt x="1447" y="1385"/>
                  </a:lnTo>
                  <a:lnTo>
                    <a:pt x="1660" y="1389"/>
                  </a:lnTo>
                  <a:lnTo>
                    <a:pt x="1702" y="1437"/>
                  </a:lnTo>
                  <a:lnTo>
                    <a:pt x="1711" y="1543"/>
                  </a:lnTo>
                  <a:lnTo>
                    <a:pt x="1685" y="1604"/>
                  </a:lnTo>
                  <a:lnTo>
                    <a:pt x="1716" y="1707"/>
                  </a:lnTo>
                  <a:lnTo>
                    <a:pt x="1779" y="1707"/>
                  </a:lnTo>
                  <a:lnTo>
                    <a:pt x="1843" y="1608"/>
                  </a:lnTo>
                  <a:lnTo>
                    <a:pt x="1818" y="1561"/>
                  </a:lnTo>
                  <a:lnTo>
                    <a:pt x="1793" y="1458"/>
                  </a:lnTo>
                  <a:lnTo>
                    <a:pt x="1831" y="1341"/>
                  </a:lnTo>
                  <a:lnTo>
                    <a:pt x="2006" y="1191"/>
                  </a:lnTo>
                  <a:lnTo>
                    <a:pt x="2138" y="1153"/>
                  </a:lnTo>
                  <a:lnTo>
                    <a:pt x="2120" y="1028"/>
                  </a:lnTo>
                  <a:lnTo>
                    <a:pt x="2304" y="830"/>
                  </a:lnTo>
                  <a:lnTo>
                    <a:pt x="2488" y="800"/>
                  </a:lnTo>
                  <a:lnTo>
                    <a:pt x="2457" y="697"/>
                  </a:lnTo>
                  <a:lnTo>
                    <a:pt x="2637" y="594"/>
                  </a:lnTo>
                  <a:lnTo>
                    <a:pt x="2637" y="456"/>
                  </a:lnTo>
                  <a:lnTo>
                    <a:pt x="2620" y="448"/>
                  </a:lnTo>
                  <a:lnTo>
                    <a:pt x="2556" y="469"/>
                  </a:lnTo>
                  <a:lnTo>
                    <a:pt x="2547" y="554"/>
                  </a:lnTo>
                  <a:lnTo>
                    <a:pt x="2335" y="556"/>
                  </a:lnTo>
                  <a:lnTo>
                    <a:pt x="2167" y="667"/>
                  </a:lnTo>
                  <a:lnTo>
                    <a:pt x="1905" y="753"/>
                  </a:lnTo>
                  <a:lnTo>
                    <a:pt x="1864" y="701"/>
                  </a:lnTo>
                  <a:lnTo>
                    <a:pt x="1982" y="521"/>
                  </a:lnTo>
                  <a:lnTo>
                    <a:pt x="1924" y="465"/>
                  </a:lnTo>
                  <a:lnTo>
                    <a:pt x="1884" y="389"/>
                  </a:lnTo>
                  <a:lnTo>
                    <a:pt x="1802" y="323"/>
                  </a:lnTo>
                  <a:lnTo>
                    <a:pt x="1711" y="315"/>
                  </a:lnTo>
                  <a:lnTo>
                    <a:pt x="1542" y="199"/>
                  </a:lnTo>
                  <a:lnTo>
                    <a:pt x="3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34"/>
            <p:cNvSpPr>
              <a:spLocks/>
            </p:cNvSpPr>
            <p:nvPr/>
          </p:nvSpPr>
          <p:spPr bwMode="auto">
            <a:xfrm>
              <a:off x="1387475" y="1693863"/>
              <a:ext cx="38100" cy="111125"/>
            </a:xfrm>
            <a:custGeom>
              <a:avLst/>
              <a:gdLst>
                <a:gd name="T0" fmla="*/ 28 w 72"/>
                <a:gd name="T1" fmla="*/ 0 h 210"/>
                <a:gd name="T2" fmla="*/ 0 w 72"/>
                <a:gd name="T3" fmla="*/ 56 h 210"/>
                <a:gd name="T4" fmla="*/ 10 w 72"/>
                <a:gd name="T5" fmla="*/ 95 h 210"/>
                <a:gd name="T6" fmla="*/ 28 w 72"/>
                <a:gd name="T7" fmla="*/ 107 h 210"/>
                <a:gd name="T8" fmla="*/ 24 w 72"/>
                <a:gd name="T9" fmla="*/ 124 h 210"/>
                <a:gd name="T10" fmla="*/ 4 w 72"/>
                <a:gd name="T11" fmla="*/ 129 h 210"/>
                <a:gd name="T12" fmla="*/ 10 w 72"/>
                <a:gd name="T13" fmla="*/ 188 h 210"/>
                <a:gd name="T14" fmla="*/ 31 w 72"/>
                <a:gd name="T15" fmla="*/ 210 h 210"/>
                <a:gd name="T16" fmla="*/ 49 w 72"/>
                <a:gd name="T17" fmla="*/ 191 h 210"/>
                <a:gd name="T18" fmla="*/ 27 w 72"/>
                <a:gd name="T19" fmla="*/ 134 h 210"/>
                <a:gd name="T20" fmla="*/ 41 w 72"/>
                <a:gd name="T21" fmla="*/ 88 h 210"/>
                <a:gd name="T22" fmla="*/ 72 w 72"/>
                <a:gd name="T23" fmla="*/ 45 h 210"/>
                <a:gd name="T24" fmla="*/ 49 w 72"/>
                <a:gd name="T25" fmla="*/ 6 h 210"/>
                <a:gd name="T26" fmla="*/ 28 w 72"/>
                <a:gd name="T27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210">
                  <a:moveTo>
                    <a:pt x="28" y="0"/>
                  </a:moveTo>
                  <a:lnTo>
                    <a:pt x="0" y="56"/>
                  </a:lnTo>
                  <a:lnTo>
                    <a:pt x="10" y="95"/>
                  </a:lnTo>
                  <a:lnTo>
                    <a:pt x="28" y="107"/>
                  </a:lnTo>
                  <a:lnTo>
                    <a:pt x="24" y="124"/>
                  </a:lnTo>
                  <a:lnTo>
                    <a:pt x="4" y="129"/>
                  </a:lnTo>
                  <a:lnTo>
                    <a:pt x="10" y="188"/>
                  </a:lnTo>
                  <a:lnTo>
                    <a:pt x="31" y="210"/>
                  </a:lnTo>
                  <a:lnTo>
                    <a:pt x="49" y="191"/>
                  </a:lnTo>
                  <a:lnTo>
                    <a:pt x="27" y="134"/>
                  </a:lnTo>
                  <a:lnTo>
                    <a:pt x="41" y="88"/>
                  </a:lnTo>
                  <a:lnTo>
                    <a:pt x="72" y="45"/>
                  </a:lnTo>
                  <a:lnTo>
                    <a:pt x="49" y="6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35"/>
            <p:cNvSpPr>
              <a:spLocks/>
            </p:cNvSpPr>
            <p:nvPr/>
          </p:nvSpPr>
          <p:spPr bwMode="auto">
            <a:xfrm>
              <a:off x="1438275" y="1871663"/>
              <a:ext cx="79375" cy="96838"/>
            </a:xfrm>
            <a:custGeom>
              <a:avLst/>
              <a:gdLst>
                <a:gd name="T0" fmla="*/ 27 w 150"/>
                <a:gd name="T1" fmla="*/ 0 h 183"/>
                <a:gd name="T2" fmla="*/ 0 w 150"/>
                <a:gd name="T3" fmla="*/ 10 h 183"/>
                <a:gd name="T4" fmla="*/ 49 w 150"/>
                <a:gd name="T5" fmla="*/ 66 h 183"/>
                <a:gd name="T6" fmla="*/ 60 w 150"/>
                <a:gd name="T7" fmla="*/ 132 h 183"/>
                <a:gd name="T8" fmla="*/ 109 w 150"/>
                <a:gd name="T9" fmla="*/ 183 h 183"/>
                <a:gd name="T10" fmla="*/ 150 w 150"/>
                <a:gd name="T11" fmla="*/ 176 h 183"/>
                <a:gd name="T12" fmla="*/ 150 w 150"/>
                <a:gd name="T13" fmla="*/ 108 h 183"/>
                <a:gd name="T14" fmla="*/ 100 w 150"/>
                <a:gd name="T15" fmla="*/ 78 h 183"/>
                <a:gd name="T16" fmla="*/ 27 w 150"/>
                <a:gd name="T1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183">
                  <a:moveTo>
                    <a:pt x="27" y="0"/>
                  </a:moveTo>
                  <a:lnTo>
                    <a:pt x="0" y="10"/>
                  </a:lnTo>
                  <a:lnTo>
                    <a:pt x="49" y="66"/>
                  </a:lnTo>
                  <a:lnTo>
                    <a:pt x="60" y="132"/>
                  </a:lnTo>
                  <a:lnTo>
                    <a:pt x="109" y="183"/>
                  </a:lnTo>
                  <a:lnTo>
                    <a:pt x="150" y="176"/>
                  </a:lnTo>
                  <a:lnTo>
                    <a:pt x="150" y="108"/>
                  </a:lnTo>
                  <a:lnTo>
                    <a:pt x="100" y="78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36"/>
            <p:cNvSpPr>
              <a:spLocks/>
            </p:cNvSpPr>
            <p:nvPr/>
          </p:nvSpPr>
          <p:spPr bwMode="auto">
            <a:xfrm>
              <a:off x="1955800" y="3082925"/>
              <a:ext cx="107950" cy="128588"/>
            </a:xfrm>
            <a:custGeom>
              <a:avLst/>
              <a:gdLst>
                <a:gd name="T0" fmla="*/ 0 w 203"/>
                <a:gd name="T1" fmla="*/ 170 h 245"/>
                <a:gd name="T2" fmla="*/ 101 w 203"/>
                <a:gd name="T3" fmla="*/ 245 h 245"/>
                <a:gd name="T4" fmla="*/ 203 w 203"/>
                <a:gd name="T5" fmla="*/ 118 h 245"/>
                <a:gd name="T6" fmla="*/ 186 w 203"/>
                <a:gd name="T7" fmla="*/ 91 h 245"/>
                <a:gd name="T8" fmla="*/ 151 w 203"/>
                <a:gd name="T9" fmla="*/ 90 h 245"/>
                <a:gd name="T10" fmla="*/ 151 w 203"/>
                <a:gd name="T11" fmla="*/ 16 h 245"/>
                <a:gd name="T12" fmla="*/ 125 w 203"/>
                <a:gd name="T13" fmla="*/ 0 h 245"/>
                <a:gd name="T14" fmla="*/ 46 w 203"/>
                <a:gd name="T15" fmla="*/ 23 h 245"/>
                <a:gd name="T16" fmla="*/ 76 w 203"/>
                <a:gd name="T17" fmla="*/ 93 h 245"/>
                <a:gd name="T18" fmla="*/ 0 w 203"/>
                <a:gd name="T19" fmla="*/ 17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3" h="245">
                  <a:moveTo>
                    <a:pt x="0" y="170"/>
                  </a:moveTo>
                  <a:lnTo>
                    <a:pt x="101" y="245"/>
                  </a:lnTo>
                  <a:lnTo>
                    <a:pt x="203" y="118"/>
                  </a:lnTo>
                  <a:lnTo>
                    <a:pt x="186" y="91"/>
                  </a:lnTo>
                  <a:lnTo>
                    <a:pt x="151" y="90"/>
                  </a:lnTo>
                  <a:lnTo>
                    <a:pt x="151" y="16"/>
                  </a:lnTo>
                  <a:lnTo>
                    <a:pt x="125" y="0"/>
                  </a:lnTo>
                  <a:lnTo>
                    <a:pt x="46" y="23"/>
                  </a:lnTo>
                  <a:lnTo>
                    <a:pt x="76" y="93"/>
                  </a:lnTo>
                  <a:lnTo>
                    <a:pt x="0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7"/>
            <p:cNvSpPr>
              <a:spLocks/>
            </p:cNvSpPr>
            <p:nvPr/>
          </p:nvSpPr>
          <p:spPr bwMode="auto">
            <a:xfrm>
              <a:off x="2043113" y="3144838"/>
              <a:ext cx="134938" cy="100013"/>
            </a:xfrm>
            <a:custGeom>
              <a:avLst/>
              <a:gdLst>
                <a:gd name="T0" fmla="*/ 52 w 257"/>
                <a:gd name="T1" fmla="*/ 6 h 190"/>
                <a:gd name="T2" fmla="*/ 210 w 257"/>
                <a:gd name="T3" fmla="*/ 0 h 190"/>
                <a:gd name="T4" fmla="*/ 257 w 257"/>
                <a:gd name="T5" fmla="*/ 55 h 190"/>
                <a:gd name="T6" fmla="*/ 229 w 257"/>
                <a:gd name="T7" fmla="*/ 49 h 190"/>
                <a:gd name="T8" fmla="*/ 172 w 257"/>
                <a:gd name="T9" fmla="*/ 51 h 190"/>
                <a:gd name="T10" fmla="*/ 99 w 257"/>
                <a:gd name="T11" fmla="*/ 120 h 190"/>
                <a:gd name="T12" fmla="*/ 66 w 257"/>
                <a:gd name="T13" fmla="*/ 190 h 190"/>
                <a:gd name="T14" fmla="*/ 46 w 257"/>
                <a:gd name="T15" fmla="*/ 179 h 190"/>
                <a:gd name="T16" fmla="*/ 46 w 257"/>
                <a:gd name="T17" fmla="*/ 103 h 190"/>
                <a:gd name="T18" fmla="*/ 0 w 257"/>
                <a:gd name="T19" fmla="*/ 73 h 190"/>
                <a:gd name="T20" fmla="*/ 52 w 257"/>
                <a:gd name="T21" fmla="*/ 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7" h="190">
                  <a:moveTo>
                    <a:pt x="52" y="6"/>
                  </a:moveTo>
                  <a:lnTo>
                    <a:pt x="210" y="0"/>
                  </a:lnTo>
                  <a:lnTo>
                    <a:pt x="257" y="55"/>
                  </a:lnTo>
                  <a:lnTo>
                    <a:pt x="229" y="49"/>
                  </a:lnTo>
                  <a:lnTo>
                    <a:pt x="172" y="51"/>
                  </a:lnTo>
                  <a:lnTo>
                    <a:pt x="99" y="120"/>
                  </a:lnTo>
                  <a:lnTo>
                    <a:pt x="66" y="190"/>
                  </a:lnTo>
                  <a:lnTo>
                    <a:pt x="46" y="179"/>
                  </a:lnTo>
                  <a:lnTo>
                    <a:pt x="46" y="103"/>
                  </a:lnTo>
                  <a:lnTo>
                    <a:pt x="0" y="73"/>
                  </a:lnTo>
                  <a:lnTo>
                    <a:pt x="5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38"/>
            <p:cNvSpPr>
              <a:spLocks/>
            </p:cNvSpPr>
            <p:nvPr/>
          </p:nvSpPr>
          <p:spPr bwMode="auto">
            <a:xfrm>
              <a:off x="2017713" y="3190875"/>
              <a:ext cx="41275" cy="46038"/>
            </a:xfrm>
            <a:custGeom>
              <a:avLst/>
              <a:gdLst>
                <a:gd name="T0" fmla="*/ 0 w 80"/>
                <a:gd name="T1" fmla="*/ 48 h 88"/>
                <a:gd name="T2" fmla="*/ 80 w 80"/>
                <a:gd name="T3" fmla="*/ 88 h 88"/>
                <a:gd name="T4" fmla="*/ 79 w 80"/>
                <a:gd name="T5" fmla="*/ 24 h 88"/>
                <a:gd name="T6" fmla="*/ 37 w 80"/>
                <a:gd name="T7" fmla="*/ 0 h 88"/>
                <a:gd name="T8" fmla="*/ 0 w 80"/>
                <a:gd name="T9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8">
                  <a:moveTo>
                    <a:pt x="0" y="48"/>
                  </a:moveTo>
                  <a:lnTo>
                    <a:pt x="80" y="88"/>
                  </a:lnTo>
                  <a:lnTo>
                    <a:pt x="79" y="24"/>
                  </a:lnTo>
                  <a:lnTo>
                    <a:pt x="37" y="0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39"/>
            <p:cNvSpPr>
              <a:spLocks/>
            </p:cNvSpPr>
            <p:nvPr/>
          </p:nvSpPr>
          <p:spPr bwMode="auto">
            <a:xfrm>
              <a:off x="2084388" y="3178175"/>
              <a:ext cx="98425" cy="111125"/>
            </a:xfrm>
            <a:custGeom>
              <a:avLst/>
              <a:gdLst>
                <a:gd name="T0" fmla="*/ 149 w 187"/>
                <a:gd name="T1" fmla="*/ 0 h 209"/>
                <a:gd name="T2" fmla="*/ 186 w 187"/>
                <a:gd name="T3" fmla="*/ 8 h 209"/>
                <a:gd name="T4" fmla="*/ 187 w 187"/>
                <a:gd name="T5" fmla="*/ 84 h 209"/>
                <a:gd name="T6" fmla="*/ 144 w 187"/>
                <a:gd name="T7" fmla="*/ 209 h 209"/>
                <a:gd name="T8" fmla="*/ 26 w 187"/>
                <a:gd name="T9" fmla="*/ 197 h 209"/>
                <a:gd name="T10" fmla="*/ 0 w 187"/>
                <a:gd name="T11" fmla="*/ 138 h 209"/>
                <a:gd name="T12" fmla="*/ 35 w 187"/>
                <a:gd name="T13" fmla="*/ 64 h 209"/>
                <a:gd name="T14" fmla="*/ 101 w 187"/>
                <a:gd name="T15" fmla="*/ 3 h 209"/>
                <a:gd name="T16" fmla="*/ 149 w 187"/>
                <a:gd name="T17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209">
                  <a:moveTo>
                    <a:pt x="149" y="0"/>
                  </a:moveTo>
                  <a:lnTo>
                    <a:pt x="186" y="8"/>
                  </a:lnTo>
                  <a:lnTo>
                    <a:pt x="187" y="84"/>
                  </a:lnTo>
                  <a:lnTo>
                    <a:pt x="144" y="209"/>
                  </a:lnTo>
                  <a:lnTo>
                    <a:pt x="26" y="197"/>
                  </a:lnTo>
                  <a:lnTo>
                    <a:pt x="0" y="138"/>
                  </a:lnTo>
                  <a:lnTo>
                    <a:pt x="35" y="64"/>
                  </a:lnTo>
                  <a:lnTo>
                    <a:pt x="101" y="3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40"/>
            <p:cNvSpPr>
              <a:spLocks/>
            </p:cNvSpPr>
            <p:nvPr/>
          </p:nvSpPr>
          <p:spPr bwMode="auto">
            <a:xfrm>
              <a:off x="2098675" y="3290888"/>
              <a:ext cx="84138" cy="82550"/>
            </a:xfrm>
            <a:custGeom>
              <a:avLst/>
              <a:gdLst>
                <a:gd name="T0" fmla="*/ 113 w 157"/>
                <a:gd name="T1" fmla="*/ 8 h 158"/>
                <a:gd name="T2" fmla="*/ 138 w 157"/>
                <a:gd name="T3" fmla="*/ 54 h 158"/>
                <a:gd name="T4" fmla="*/ 157 w 157"/>
                <a:gd name="T5" fmla="*/ 81 h 158"/>
                <a:gd name="T6" fmla="*/ 131 w 157"/>
                <a:gd name="T7" fmla="*/ 158 h 158"/>
                <a:gd name="T8" fmla="*/ 81 w 157"/>
                <a:gd name="T9" fmla="*/ 123 h 158"/>
                <a:gd name="T10" fmla="*/ 0 w 157"/>
                <a:gd name="T11" fmla="*/ 48 h 158"/>
                <a:gd name="T12" fmla="*/ 0 w 157"/>
                <a:gd name="T13" fmla="*/ 0 h 158"/>
                <a:gd name="T14" fmla="*/ 113 w 157"/>
                <a:gd name="T15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58">
                  <a:moveTo>
                    <a:pt x="113" y="8"/>
                  </a:moveTo>
                  <a:lnTo>
                    <a:pt x="138" y="54"/>
                  </a:lnTo>
                  <a:lnTo>
                    <a:pt x="157" y="81"/>
                  </a:lnTo>
                  <a:lnTo>
                    <a:pt x="131" y="158"/>
                  </a:lnTo>
                  <a:lnTo>
                    <a:pt x="81" y="123"/>
                  </a:lnTo>
                  <a:lnTo>
                    <a:pt x="0" y="48"/>
                  </a:lnTo>
                  <a:lnTo>
                    <a:pt x="0" y="0"/>
                  </a:lnTo>
                  <a:lnTo>
                    <a:pt x="113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41"/>
            <p:cNvSpPr>
              <a:spLocks/>
            </p:cNvSpPr>
            <p:nvPr/>
          </p:nvSpPr>
          <p:spPr bwMode="auto">
            <a:xfrm>
              <a:off x="2174875" y="3319463"/>
              <a:ext cx="161925" cy="74613"/>
            </a:xfrm>
            <a:custGeom>
              <a:avLst/>
              <a:gdLst>
                <a:gd name="T0" fmla="*/ 24 w 306"/>
                <a:gd name="T1" fmla="*/ 32 h 141"/>
                <a:gd name="T2" fmla="*/ 0 w 306"/>
                <a:gd name="T3" fmla="*/ 109 h 141"/>
                <a:gd name="T4" fmla="*/ 82 w 306"/>
                <a:gd name="T5" fmla="*/ 131 h 141"/>
                <a:gd name="T6" fmla="*/ 133 w 306"/>
                <a:gd name="T7" fmla="*/ 141 h 141"/>
                <a:gd name="T8" fmla="*/ 142 w 306"/>
                <a:gd name="T9" fmla="*/ 81 h 141"/>
                <a:gd name="T10" fmla="*/ 197 w 306"/>
                <a:gd name="T11" fmla="*/ 53 h 141"/>
                <a:gd name="T12" fmla="*/ 246 w 306"/>
                <a:gd name="T13" fmla="*/ 78 h 141"/>
                <a:gd name="T14" fmla="*/ 265 w 306"/>
                <a:gd name="T15" fmla="*/ 109 h 141"/>
                <a:gd name="T16" fmla="*/ 288 w 306"/>
                <a:gd name="T17" fmla="*/ 106 h 141"/>
                <a:gd name="T18" fmla="*/ 306 w 306"/>
                <a:gd name="T19" fmla="*/ 50 h 141"/>
                <a:gd name="T20" fmla="*/ 246 w 306"/>
                <a:gd name="T21" fmla="*/ 25 h 141"/>
                <a:gd name="T22" fmla="*/ 200 w 306"/>
                <a:gd name="T23" fmla="*/ 0 h 141"/>
                <a:gd name="T24" fmla="*/ 153 w 306"/>
                <a:gd name="T25" fmla="*/ 32 h 141"/>
                <a:gd name="T26" fmla="*/ 98 w 306"/>
                <a:gd name="T27" fmla="*/ 59 h 141"/>
                <a:gd name="T28" fmla="*/ 43 w 306"/>
                <a:gd name="T29" fmla="*/ 37 h 141"/>
                <a:gd name="T30" fmla="*/ 24 w 306"/>
                <a:gd name="T31" fmla="*/ 32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6" h="141">
                  <a:moveTo>
                    <a:pt x="24" y="32"/>
                  </a:moveTo>
                  <a:lnTo>
                    <a:pt x="0" y="109"/>
                  </a:lnTo>
                  <a:lnTo>
                    <a:pt x="82" y="131"/>
                  </a:lnTo>
                  <a:lnTo>
                    <a:pt x="133" y="141"/>
                  </a:lnTo>
                  <a:lnTo>
                    <a:pt x="142" y="81"/>
                  </a:lnTo>
                  <a:lnTo>
                    <a:pt x="197" y="53"/>
                  </a:lnTo>
                  <a:lnTo>
                    <a:pt x="246" y="78"/>
                  </a:lnTo>
                  <a:lnTo>
                    <a:pt x="265" y="109"/>
                  </a:lnTo>
                  <a:lnTo>
                    <a:pt x="288" y="106"/>
                  </a:lnTo>
                  <a:lnTo>
                    <a:pt x="306" y="50"/>
                  </a:lnTo>
                  <a:lnTo>
                    <a:pt x="246" y="25"/>
                  </a:lnTo>
                  <a:lnTo>
                    <a:pt x="200" y="0"/>
                  </a:lnTo>
                  <a:lnTo>
                    <a:pt x="153" y="32"/>
                  </a:lnTo>
                  <a:lnTo>
                    <a:pt x="98" y="59"/>
                  </a:lnTo>
                  <a:lnTo>
                    <a:pt x="43" y="37"/>
                  </a:lnTo>
                  <a:lnTo>
                    <a:pt x="2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42"/>
            <p:cNvSpPr>
              <a:spLocks/>
            </p:cNvSpPr>
            <p:nvPr/>
          </p:nvSpPr>
          <p:spPr bwMode="auto">
            <a:xfrm>
              <a:off x="2281238" y="3244850"/>
              <a:ext cx="282575" cy="476250"/>
            </a:xfrm>
            <a:custGeom>
              <a:avLst/>
              <a:gdLst>
                <a:gd name="T0" fmla="*/ 392 w 534"/>
                <a:gd name="T1" fmla="*/ 4 h 899"/>
                <a:gd name="T2" fmla="*/ 357 w 534"/>
                <a:gd name="T3" fmla="*/ 0 h 899"/>
                <a:gd name="T4" fmla="*/ 124 w 534"/>
                <a:gd name="T5" fmla="*/ 193 h 899"/>
                <a:gd name="T6" fmla="*/ 99 w 534"/>
                <a:gd name="T7" fmla="*/ 260 h 899"/>
                <a:gd name="T8" fmla="*/ 67 w 534"/>
                <a:gd name="T9" fmla="*/ 264 h 899"/>
                <a:gd name="T10" fmla="*/ 81 w 534"/>
                <a:gd name="T11" fmla="*/ 414 h 899"/>
                <a:gd name="T12" fmla="*/ 0 w 534"/>
                <a:gd name="T13" fmla="*/ 614 h 899"/>
                <a:gd name="T14" fmla="*/ 88 w 534"/>
                <a:gd name="T15" fmla="*/ 688 h 899"/>
                <a:gd name="T16" fmla="*/ 202 w 534"/>
                <a:gd name="T17" fmla="*/ 695 h 899"/>
                <a:gd name="T18" fmla="*/ 279 w 534"/>
                <a:gd name="T19" fmla="*/ 809 h 899"/>
                <a:gd name="T20" fmla="*/ 393 w 534"/>
                <a:gd name="T21" fmla="*/ 813 h 899"/>
                <a:gd name="T22" fmla="*/ 389 w 534"/>
                <a:gd name="T23" fmla="*/ 899 h 899"/>
                <a:gd name="T24" fmla="*/ 431 w 534"/>
                <a:gd name="T25" fmla="*/ 899 h 899"/>
                <a:gd name="T26" fmla="*/ 477 w 534"/>
                <a:gd name="T27" fmla="*/ 741 h 899"/>
                <a:gd name="T28" fmla="*/ 434 w 534"/>
                <a:gd name="T29" fmla="*/ 689 h 899"/>
                <a:gd name="T30" fmla="*/ 445 w 534"/>
                <a:gd name="T31" fmla="*/ 588 h 899"/>
                <a:gd name="T32" fmla="*/ 534 w 534"/>
                <a:gd name="T33" fmla="*/ 581 h 899"/>
                <a:gd name="T34" fmla="*/ 523 w 534"/>
                <a:gd name="T35" fmla="*/ 350 h 899"/>
                <a:gd name="T36" fmla="*/ 325 w 534"/>
                <a:gd name="T37" fmla="*/ 286 h 899"/>
                <a:gd name="T38" fmla="*/ 279 w 534"/>
                <a:gd name="T39" fmla="*/ 161 h 899"/>
                <a:gd name="T40" fmla="*/ 392 w 534"/>
                <a:gd name="T41" fmla="*/ 4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899">
                  <a:moveTo>
                    <a:pt x="392" y="4"/>
                  </a:moveTo>
                  <a:lnTo>
                    <a:pt x="357" y="0"/>
                  </a:lnTo>
                  <a:lnTo>
                    <a:pt x="124" y="193"/>
                  </a:lnTo>
                  <a:lnTo>
                    <a:pt x="99" y="260"/>
                  </a:lnTo>
                  <a:lnTo>
                    <a:pt x="67" y="264"/>
                  </a:lnTo>
                  <a:lnTo>
                    <a:pt x="81" y="414"/>
                  </a:lnTo>
                  <a:lnTo>
                    <a:pt x="0" y="614"/>
                  </a:lnTo>
                  <a:lnTo>
                    <a:pt x="88" y="688"/>
                  </a:lnTo>
                  <a:lnTo>
                    <a:pt x="202" y="695"/>
                  </a:lnTo>
                  <a:lnTo>
                    <a:pt x="279" y="809"/>
                  </a:lnTo>
                  <a:lnTo>
                    <a:pt x="393" y="813"/>
                  </a:lnTo>
                  <a:lnTo>
                    <a:pt x="389" y="899"/>
                  </a:lnTo>
                  <a:lnTo>
                    <a:pt x="431" y="899"/>
                  </a:lnTo>
                  <a:lnTo>
                    <a:pt x="477" y="741"/>
                  </a:lnTo>
                  <a:lnTo>
                    <a:pt x="434" y="689"/>
                  </a:lnTo>
                  <a:lnTo>
                    <a:pt x="445" y="588"/>
                  </a:lnTo>
                  <a:lnTo>
                    <a:pt x="534" y="581"/>
                  </a:lnTo>
                  <a:lnTo>
                    <a:pt x="523" y="350"/>
                  </a:lnTo>
                  <a:lnTo>
                    <a:pt x="325" y="286"/>
                  </a:lnTo>
                  <a:lnTo>
                    <a:pt x="279" y="161"/>
                  </a:lnTo>
                  <a:lnTo>
                    <a:pt x="39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43"/>
            <p:cNvSpPr>
              <a:spLocks/>
            </p:cNvSpPr>
            <p:nvPr/>
          </p:nvSpPr>
          <p:spPr bwMode="auto">
            <a:xfrm>
              <a:off x="2439988" y="3260725"/>
              <a:ext cx="325438" cy="331788"/>
            </a:xfrm>
            <a:custGeom>
              <a:avLst/>
              <a:gdLst>
                <a:gd name="T0" fmla="*/ 37 w 616"/>
                <a:gd name="T1" fmla="*/ 80 h 626"/>
                <a:gd name="T2" fmla="*/ 45 w 616"/>
                <a:gd name="T3" fmla="*/ 125 h 626"/>
                <a:gd name="T4" fmla="*/ 101 w 616"/>
                <a:gd name="T5" fmla="*/ 142 h 626"/>
                <a:gd name="T6" fmla="*/ 113 w 616"/>
                <a:gd name="T7" fmla="*/ 61 h 626"/>
                <a:gd name="T8" fmla="*/ 172 w 616"/>
                <a:gd name="T9" fmla="*/ 0 h 626"/>
                <a:gd name="T10" fmla="*/ 231 w 616"/>
                <a:gd name="T11" fmla="*/ 69 h 626"/>
                <a:gd name="T12" fmla="*/ 366 w 616"/>
                <a:gd name="T13" fmla="*/ 105 h 626"/>
                <a:gd name="T14" fmla="*/ 480 w 616"/>
                <a:gd name="T15" fmla="*/ 81 h 626"/>
                <a:gd name="T16" fmla="*/ 557 w 616"/>
                <a:gd name="T17" fmla="*/ 177 h 626"/>
                <a:gd name="T18" fmla="*/ 616 w 616"/>
                <a:gd name="T19" fmla="*/ 214 h 626"/>
                <a:gd name="T20" fmla="*/ 552 w 616"/>
                <a:gd name="T21" fmla="*/ 312 h 626"/>
                <a:gd name="T22" fmla="*/ 574 w 616"/>
                <a:gd name="T23" fmla="*/ 387 h 626"/>
                <a:gd name="T24" fmla="*/ 537 w 616"/>
                <a:gd name="T25" fmla="*/ 432 h 626"/>
                <a:gd name="T26" fmla="*/ 499 w 616"/>
                <a:gd name="T27" fmla="*/ 465 h 626"/>
                <a:gd name="T28" fmla="*/ 416 w 616"/>
                <a:gd name="T29" fmla="*/ 423 h 626"/>
                <a:gd name="T30" fmla="*/ 397 w 616"/>
                <a:gd name="T31" fmla="*/ 442 h 626"/>
                <a:gd name="T32" fmla="*/ 397 w 616"/>
                <a:gd name="T33" fmla="*/ 501 h 626"/>
                <a:gd name="T34" fmla="*/ 458 w 616"/>
                <a:gd name="T35" fmla="*/ 530 h 626"/>
                <a:gd name="T36" fmla="*/ 413 w 616"/>
                <a:gd name="T37" fmla="*/ 578 h 626"/>
                <a:gd name="T38" fmla="*/ 369 w 616"/>
                <a:gd name="T39" fmla="*/ 626 h 626"/>
                <a:gd name="T40" fmla="*/ 310 w 616"/>
                <a:gd name="T41" fmla="*/ 621 h 626"/>
                <a:gd name="T42" fmla="*/ 251 w 616"/>
                <a:gd name="T43" fmla="*/ 556 h 626"/>
                <a:gd name="T44" fmla="*/ 238 w 616"/>
                <a:gd name="T45" fmla="*/ 312 h 626"/>
                <a:gd name="T46" fmla="*/ 37 w 616"/>
                <a:gd name="T47" fmla="*/ 243 h 626"/>
                <a:gd name="T48" fmla="*/ 0 w 616"/>
                <a:gd name="T49" fmla="*/ 136 h 626"/>
                <a:gd name="T50" fmla="*/ 37 w 616"/>
                <a:gd name="T51" fmla="*/ 80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16" h="626">
                  <a:moveTo>
                    <a:pt x="37" y="80"/>
                  </a:moveTo>
                  <a:lnTo>
                    <a:pt x="45" y="125"/>
                  </a:lnTo>
                  <a:lnTo>
                    <a:pt x="101" y="142"/>
                  </a:lnTo>
                  <a:lnTo>
                    <a:pt x="113" y="61"/>
                  </a:lnTo>
                  <a:lnTo>
                    <a:pt x="172" y="0"/>
                  </a:lnTo>
                  <a:lnTo>
                    <a:pt x="231" y="69"/>
                  </a:lnTo>
                  <a:lnTo>
                    <a:pt x="366" y="105"/>
                  </a:lnTo>
                  <a:lnTo>
                    <a:pt x="480" y="81"/>
                  </a:lnTo>
                  <a:lnTo>
                    <a:pt x="557" y="177"/>
                  </a:lnTo>
                  <a:lnTo>
                    <a:pt x="616" y="214"/>
                  </a:lnTo>
                  <a:lnTo>
                    <a:pt x="552" y="312"/>
                  </a:lnTo>
                  <a:lnTo>
                    <a:pt x="574" y="387"/>
                  </a:lnTo>
                  <a:lnTo>
                    <a:pt x="537" y="432"/>
                  </a:lnTo>
                  <a:lnTo>
                    <a:pt x="499" y="465"/>
                  </a:lnTo>
                  <a:lnTo>
                    <a:pt x="416" y="423"/>
                  </a:lnTo>
                  <a:lnTo>
                    <a:pt x="397" y="442"/>
                  </a:lnTo>
                  <a:lnTo>
                    <a:pt x="397" y="501"/>
                  </a:lnTo>
                  <a:lnTo>
                    <a:pt x="458" y="530"/>
                  </a:lnTo>
                  <a:lnTo>
                    <a:pt x="413" y="578"/>
                  </a:lnTo>
                  <a:lnTo>
                    <a:pt x="369" y="626"/>
                  </a:lnTo>
                  <a:lnTo>
                    <a:pt x="310" y="621"/>
                  </a:lnTo>
                  <a:lnTo>
                    <a:pt x="251" y="556"/>
                  </a:lnTo>
                  <a:lnTo>
                    <a:pt x="238" y="312"/>
                  </a:lnTo>
                  <a:lnTo>
                    <a:pt x="37" y="243"/>
                  </a:lnTo>
                  <a:lnTo>
                    <a:pt x="0" y="136"/>
                  </a:lnTo>
                  <a:lnTo>
                    <a:pt x="37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44"/>
            <p:cNvSpPr>
              <a:spLocks/>
            </p:cNvSpPr>
            <p:nvPr/>
          </p:nvSpPr>
          <p:spPr bwMode="auto">
            <a:xfrm>
              <a:off x="2740025" y="3378200"/>
              <a:ext cx="104775" cy="198438"/>
            </a:xfrm>
            <a:custGeom>
              <a:avLst/>
              <a:gdLst>
                <a:gd name="T0" fmla="*/ 61 w 196"/>
                <a:gd name="T1" fmla="*/ 0 h 376"/>
                <a:gd name="T2" fmla="*/ 184 w 196"/>
                <a:gd name="T3" fmla="*/ 112 h 376"/>
                <a:gd name="T4" fmla="*/ 135 w 196"/>
                <a:gd name="T5" fmla="*/ 169 h 376"/>
                <a:gd name="T6" fmla="*/ 131 w 196"/>
                <a:gd name="T7" fmla="*/ 202 h 376"/>
                <a:gd name="T8" fmla="*/ 196 w 196"/>
                <a:gd name="T9" fmla="*/ 269 h 376"/>
                <a:gd name="T10" fmla="*/ 195 w 196"/>
                <a:gd name="T11" fmla="*/ 333 h 376"/>
                <a:gd name="T12" fmla="*/ 82 w 196"/>
                <a:gd name="T13" fmla="*/ 376 h 376"/>
                <a:gd name="T14" fmla="*/ 15 w 196"/>
                <a:gd name="T15" fmla="*/ 285 h 376"/>
                <a:gd name="T16" fmla="*/ 29 w 196"/>
                <a:gd name="T17" fmla="*/ 176 h 376"/>
                <a:gd name="T18" fmla="*/ 0 w 196"/>
                <a:gd name="T19" fmla="*/ 95 h 376"/>
                <a:gd name="T20" fmla="*/ 61 w 196"/>
                <a:gd name="T2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376">
                  <a:moveTo>
                    <a:pt x="61" y="0"/>
                  </a:moveTo>
                  <a:lnTo>
                    <a:pt x="184" y="112"/>
                  </a:lnTo>
                  <a:lnTo>
                    <a:pt x="135" y="169"/>
                  </a:lnTo>
                  <a:lnTo>
                    <a:pt x="131" y="202"/>
                  </a:lnTo>
                  <a:lnTo>
                    <a:pt x="196" y="269"/>
                  </a:lnTo>
                  <a:lnTo>
                    <a:pt x="195" y="333"/>
                  </a:lnTo>
                  <a:lnTo>
                    <a:pt x="82" y="376"/>
                  </a:lnTo>
                  <a:lnTo>
                    <a:pt x="15" y="285"/>
                  </a:lnTo>
                  <a:lnTo>
                    <a:pt x="29" y="176"/>
                  </a:lnTo>
                  <a:lnTo>
                    <a:pt x="0" y="95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45"/>
            <p:cNvSpPr>
              <a:spLocks/>
            </p:cNvSpPr>
            <p:nvPr/>
          </p:nvSpPr>
          <p:spPr bwMode="auto">
            <a:xfrm>
              <a:off x="2819400" y="3440113"/>
              <a:ext cx="100013" cy="112713"/>
            </a:xfrm>
            <a:custGeom>
              <a:avLst/>
              <a:gdLst>
                <a:gd name="T0" fmla="*/ 49 w 188"/>
                <a:gd name="T1" fmla="*/ 1 h 211"/>
                <a:gd name="T2" fmla="*/ 84 w 188"/>
                <a:gd name="T3" fmla="*/ 33 h 211"/>
                <a:gd name="T4" fmla="*/ 138 w 188"/>
                <a:gd name="T5" fmla="*/ 0 h 211"/>
                <a:gd name="T6" fmla="*/ 188 w 188"/>
                <a:gd name="T7" fmla="*/ 1 h 211"/>
                <a:gd name="T8" fmla="*/ 181 w 188"/>
                <a:gd name="T9" fmla="*/ 20 h 211"/>
                <a:gd name="T10" fmla="*/ 160 w 188"/>
                <a:gd name="T11" fmla="*/ 63 h 211"/>
                <a:gd name="T12" fmla="*/ 157 w 188"/>
                <a:gd name="T13" fmla="*/ 170 h 211"/>
                <a:gd name="T14" fmla="*/ 59 w 188"/>
                <a:gd name="T15" fmla="*/ 211 h 211"/>
                <a:gd name="T16" fmla="*/ 63 w 188"/>
                <a:gd name="T17" fmla="*/ 142 h 211"/>
                <a:gd name="T18" fmla="*/ 0 w 188"/>
                <a:gd name="T19" fmla="*/ 83 h 211"/>
                <a:gd name="T20" fmla="*/ 3 w 188"/>
                <a:gd name="T21" fmla="*/ 52 h 211"/>
                <a:gd name="T22" fmla="*/ 49 w 188"/>
                <a:gd name="T23" fmla="*/ 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8" h="211">
                  <a:moveTo>
                    <a:pt x="49" y="1"/>
                  </a:moveTo>
                  <a:lnTo>
                    <a:pt x="84" y="33"/>
                  </a:lnTo>
                  <a:lnTo>
                    <a:pt x="138" y="0"/>
                  </a:lnTo>
                  <a:lnTo>
                    <a:pt x="188" y="1"/>
                  </a:lnTo>
                  <a:lnTo>
                    <a:pt x="181" y="20"/>
                  </a:lnTo>
                  <a:lnTo>
                    <a:pt x="160" y="63"/>
                  </a:lnTo>
                  <a:lnTo>
                    <a:pt x="157" y="170"/>
                  </a:lnTo>
                  <a:lnTo>
                    <a:pt x="59" y="211"/>
                  </a:lnTo>
                  <a:lnTo>
                    <a:pt x="63" y="142"/>
                  </a:lnTo>
                  <a:lnTo>
                    <a:pt x="0" y="83"/>
                  </a:lnTo>
                  <a:lnTo>
                    <a:pt x="3" y="52"/>
                  </a:lnTo>
                  <a:lnTo>
                    <a:pt x="4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246"/>
            <p:cNvSpPr>
              <a:spLocks/>
            </p:cNvSpPr>
            <p:nvPr/>
          </p:nvSpPr>
          <p:spPr bwMode="auto">
            <a:xfrm>
              <a:off x="2913063" y="3446463"/>
              <a:ext cx="66675" cy="101600"/>
            </a:xfrm>
            <a:custGeom>
              <a:avLst/>
              <a:gdLst>
                <a:gd name="T0" fmla="*/ 27 w 127"/>
                <a:gd name="T1" fmla="*/ 0 h 191"/>
                <a:gd name="T2" fmla="*/ 127 w 127"/>
                <a:gd name="T3" fmla="*/ 63 h 191"/>
                <a:gd name="T4" fmla="*/ 75 w 127"/>
                <a:gd name="T5" fmla="*/ 167 h 191"/>
                <a:gd name="T6" fmla="*/ 56 w 127"/>
                <a:gd name="T7" fmla="*/ 191 h 191"/>
                <a:gd name="T8" fmla="*/ 0 w 127"/>
                <a:gd name="T9" fmla="*/ 158 h 191"/>
                <a:gd name="T10" fmla="*/ 1 w 127"/>
                <a:gd name="T11" fmla="*/ 47 h 191"/>
                <a:gd name="T12" fmla="*/ 27 w 127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91">
                  <a:moveTo>
                    <a:pt x="27" y="0"/>
                  </a:moveTo>
                  <a:lnTo>
                    <a:pt x="127" y="63"/>
                  </a:lnTo>
                  <a:lnTo>
                    <a:pt x="75" y="167"/>
                  </a:lnTo>
                  <a:lnTo>
                    <a:pt x="56" y="191"/>
                  </a:lnTo>
                  <a:lnTo>
                    <a:pt x="0" y="158"/>
                  </a:lnTo>
                  <a:lnTo>
                    <a:pt x="1" y="47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247"/>
            <p:cNvSpPr>
              <a:spLocks/>
            </p:cNvSpPr>
            <p:nvPr/>
          </p:nvSpPr>
          <p:spPr bwMode="auto">
            <a:xfrm>
              <a:off x="2220913" y="3575050"/>
              <a:ext cx="139700" cy="161925"/>
            </a:xfrm>
            <a:custGeom>
              <a:avLst/>
              <a:gdLst>
                <a:gd name="T0" fmla="*/ 103 w 264"/>
                <a:gd name="T1" fmla="*/ 0 h 306"/>
                <a:gd name="T2" fmla="*/ 23 w 264"/>
                <a:gd name="T3" fmla="*/ 50 h 306"/>
                <a:gd name="T4" fmla="*/ 16 w 264"/>
                <a:gd name="T5" fmla="*/ 125 h 306"/>
                <a:gd name="T6" fmla="*/ 0 w 264"/>
                <a:gd name="T7" fmla="*/ 150 h 306"/>
                <a:gd name="T8" fmla="*/ 51 w 264"/>
                <a:gd name="T9" fmla="*/ 199 h 306"/>
                <a:gd name="T10" fmla="*/ 29 w 264"/>
                <a:gd name="T11" fmla="*/ 223 h 306"/>
                <a:gd name="T12" fmla="*/ 34 w 264"/>
                <a:gd name="T13" fmla="*/ 284 h 306"/>
                <a:gd name="T14" fmla="*/ 125 w 264"/>
                <a:gd name="T15" fmla="*/ 306 h 306"/>
                <a:gd name="T16" fmla="*/ 264 w 264"/>
                <a:gd name="T17" fmla="*/ 143 h 306"/>
                <a:gd name="T18" fmla="*/ 263 w 264"/>
                <a:gd name="T19" fmla="*/ 85 h 306"/>
                <a:gd name="T20" fmla="*/ 197 w 264"/>
                <a:gd name="T21" fmla="*/ 81 h 306"/>
                <a:gd name="T22" fmla="*/ 103 w 264"/>
                <a:gd name="T23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4" h="306">
                  <a:moveTo>
                    <a:pt x="103" y="0"/>
                  </a:moveTo>
                  <a:lnTo>
                    <a:pt x="23" y="50"/>
                  </a:lnTo>
                  <a:lnTo>
                    <a:pt x="16" y="125"/>
                  </a:lnTo>
                  <a:lnTo>
                    <a:pt x="0" y="150"/>
                  </a:lnTo>
                  <a:lnTo>
                    <a:pt x="51" y="199"/>
                  </a:lnTo>
                  <a:lnTo>
                    <a:pt x="29" y="223"/>
                  </a:lnTo>
                  <a:lnTo>
                    <a:pt x="34" y="284"/>
                  </a:lnTo>
                  <a:lnTo>
                    <a:pt x="125" y="306"/>
                  </a:lnTo>
                  <a:lnTo>
                    <a:pt x="264" y="143"/>
                  </a:lnTo>
                  <a:lnTo>
                    <a:pt x="263" y="85"/>
                  </a:lnTo>
                  <a:lnTo>
                    <a:pt x="197" y="81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248"/>
            <p:cNvSpPr>
              <a:spLocks/>
            </p:cNvSpPr>
            <p:nvPr/>
          </p:nvSpPr>
          <p:spPr bwMode="auto">
            <a:xfrm>
              <a:off x="2211388" y="3621088"/>
              <a:ext cx="344488" cy="506413"/>
            </a:xfrm>
            <a:custGeom>
              <a:avLst/>
              <a:gdLst>
                <a:gd name="T0" fmla="*/ 33 w 652"/>
                <a:gd name="T1" fmla="*/ 147 h 957"/>
                <a:gd name="T2" fmla="*/ 0 w 652"/>
                <a:gd name="T3" fmla="*/ 181 h 957"/>
                <a:gd name="T4" fmla="*/ 3 w 652"/>
                <a:gd name="T5" fmla="*/ 234 h 957"/>
                <a:gd name="T6" fmla="*/ 293 w 652"/>
                <a:gd name="T7" fmla="*/ 763 h 957"/>
                <a:gd name="T8" fmla="*/ 594 w 652"/>
                <a:gd name="T9" fmla="*/ 957 h 957"/>
                <a:gd name="T10" fmla="*/ 640 w 652"/>
                <a:gd name="T11" fmla="*/ 879 h 957"/>
                <a:gd name="T12" fmla="*/ 652 w 652"/>
                <a:gd name="T13" fmla="*/ 708 h 957"/>
                <a:gd name="T14" fmla="*/ 627 w 652"/>
                <a:gd name="T15" fmla="*/ 600 h 957"/>
                <a:gd name="T16" fmla="*/ 545 w 652"/>
                <a:gd name="T17" fmla="*/ 462 h 957"/>
                <a:gd name="T18" fmla="*/ 496 w 652"/>
                <a:gd name="T19" fmla="*/ 478 h 957"/>
                <a:gd name="T20" fmla="*/ 475 w 652"/>
                <a:gd name="T21" fmla="*/ 502 h 957"/>
                <a:gd name="T22" fmla="*/ 377 w 652"/>
                <a:gd name="T23" fmla="*/ 391 h 957"/>
                <a:gd name="T24" fmla="*/ 402 w 652"/>
                <a:gd name="T25" fmla="*/ 259 h 957"/>
                <a:gd name="T26" fmla="*/ 514 w 652"/>
                <a:gd name="T27" fmla="*/ 185 h 957"/>
                <a:gd name="T28" fmla="*/ 505 w 652"/>
                <a:gd name="T29" fmla="*/ 116 h 957"/>
                <a:gd name="T30" fmla="*/ 391 w 652"/>
                <a:gd name="T31" fmla="*/ 112 h 957"/>
                <a:gd name="T32" fmla="*/ 331 w 652"/>
                <a:gd name="T33" fmla="*/ 11 h 957"/>
                <a:gd name="T34" fmla="*/ 297 w 652"/>
                <a:gd name="T35" fmla="*/ 0 h 957"/>
                <a:gd name="T36" fmla="*/ 299 w 652"/>
                <a:gd name="T37" fmla="*/ 60 h 957"/>
                <a:gd name="T38" fmla="*/ 151 w 652"/>
                <a:gd name="T39" fmla="*/ 237 h 957"/>
                <a:gd name="T40" fmla="*/ 41 w 652"/>
                <a:gd name="T41" fmla="*/ 210 h 957"/>
                <a:gd name="T42" fmla="*/ 33 w 652"/>
                <a:gd name="T43" fmla="*/ 147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2" h="957">
                  <a:moveTo>
                    <a:pt x="33" y="147"/>
                  </a:moveTo>
                  <a:lnTo>
                    <a:pt x="0" y="181"/>
                  </a:lnTo>
                  <a:lnTo>
                    <a:pt x="3" y="234"/>
                  </a:lnTo>
                  <a:lnTo>
                    <a:pt x="293" y="763"/>
                  </a:lnTo>
                  <a:lnTo>
                    <a:pt x="594" y="957"/>
                  </a:lnTo>
                  <a:lnTo>
                    <a:pt x="640" y="879"/>
                  </a:lnTo>
                  <a:lnTo>
                    <a:pt x="652" y="708"/>
                  </a:lnTo>
                  <a:lnTo>
                    <a:pt x="627" y="600"/>
                  </a:lnTo>
                  <a:lnTo>
                    <a:pt x="545" y="462"/>
                  </a:lnTo>
                  <a:lnTo>
                    <a:pt x="496" y="478"/>
                  </a:lnTo>
                  <a:lnTo>
                    <a:pt x="475" y="502"/>
                  </a:lnTo>
                  <a:lnTo>
                    <a:pt x="377" y="391"/>
                  </a:lnTo>
                  <a:lnTo>
                    <a:pt x="402" y="259"/>
                  </a:lnTo>
                  <a:lnTo>
                    <a:pt x="514" y="185"/>
                  </a:lnTo>
                  <a:lnTo>
                    <a:pt x="505" y="116"/>
                  </a:lnTo>
                  <a:lnTo>
                    <a:pt x="391" y="112"/>
                  </a:lnTo>
                  <a:lnTo>
                    <a:pt x="331" y="11"/>
                  </a:lnTo>
                  <a:lnTo>
                    <a:pt x="297" y="0"/>
                  </a:lnTo>
                  <a:lnTo>
                    <a:pt x="299" y="60"/>
                  </a:lnTo>
                  <a:lnTo>
                    <a:pt x="151" y="237"/>
                  </a:lnTo>
                  <a:lnTo>
                    <a:pt x="41" y="210"/>
                  </a:lnTo>
                  <a:lnTo>
                    <a:pt x="33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249"/>
            <p:cNvSpPr>
              <a:spLocks/>
            </p:cNvSpPr>
            <p:nvPr/>
          </p:nvSpPr>
          <p:spPr bwMode="auto">
            <a:xfrm>
              <a:off x="2533650" y="3876675"/>
              <a:ext cx="315913" cy="374650"/>
            </a:xfrm>
            <a:custGeom>
              <a:avLst/>
              <a:gdLst>
                <a:gd name="T0" fmla="*/ 0 w 595"/>
                <a:gd name="T1" fmla="*/ 62 h 707"/>
                <a:gd name="T2" fmla="*/ 140 w 595"/>
                <a:gd name="T3" fmla="*/ 0 h 707"/>
                <a:gd name="T4" fmla="*/ 187 w 595"/>
                <a:gd name="T5" fmla="*/ 4 h 707"/>
                <a:gd name="T6" fmla="*/ 218 w 595"/>
                <a:gd name="T7" fmla="*/ 134 h 707"/>
                <a:gd name="T8" fmla="*/ 432 w 595"/>
                <a:gd name="T9" fmla="*/ 205 h 707"/>
                <a:gd name="T10" fmla="*/ 468 w 595"/>
                <a:gd name="T11" fmla="*/ 315 h 707"/>
                <a:gd name="T12" fmla="*/ 557 w 595"/>
                <a:gd name="T13" fmla="*/ 326 h 707"/>
                <a:gd name="T14" fmla="*/ 595 w 595"/>
                <a:gd name="T15" fmla="*/ 419 h 707"/>
                <a:gd name="T16" fmla="*/ 568 w 595"/>
                <a:gd name="T17" fmla="*/ 505 h 707"/>
                <a:gd name="T18" fmla="*/ 424 w 595"/>
                <a:gd name="T19" fmla="*/ 516 h 707"/>
                <a:gd name="T20" fmla="*/ 370 w 595"/>
                <a:gd name="T21" fmla="*/ 652 h 707"/>
                <a:gd name="T22" fmla="*/ 258 w 595"/>
                <a:gd name="T23" fmla="*/ 650 h 707"/>
                <a:gd name="T24" fmla="*/ 222 w 595"/>
                <a:gd name="T25" fmla="*/ 643 h 707"/>
                <a:gd name="T26" fmla="*/ 157 w 595"/>
                <a:gd name="T27" fmla="*/ 707 h 707"/>
                <a:gd name="T28" fmla="*/ 125 w 595"/>
                <a:gd name="T29" fmla="*/ 704 h 707"/>
                <a:gd name="T30" fmla="*/ 14 w 595"/>
                <a:gd name="T31" fmla="*/ 447 h 707"/>
                <a:gd name="T32" fmla="*/ 45 w 595"/>
                <a:gd name="T33" fmla="*/ 400 h 707"/>
                <a:gd name="T34" fmla="*/ 56 w 595"/>
                <a:gd name="T35" fmla="*/ 219 h 707"/>
                <a:gd name="T36" fmla="*/ 28 w 595"/>
                <a:gd name="T37" fmla="*/ 111 h 707"/>
                <a:gd name="T38" fmla="*/ 0 w 595"/>
                <a:gd name="T39" fmla="*/ 62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5" h="707">
                  <a:moveTo>
                    <a:pt x="0" y="62"/>
                  </a:moveTo>
                  <a:lnTo>
                    <a:pt x="140" y="0"/>
                  </a:lnTo>
                  <a:lnTo>
                    <a:pt x="187" y="4"/>
                  </a:lnTo>
                  <a:lnTo>
                    <a:pt x="218" y="134"/>
                  </a:lnTo>
                  <a:lnTo>
                    <a:pt x="432" y="205"/>
                  </a:lnTo>
                  <a:lnTo>
                    <a:pt x="468" y="315"/>
                  </a:lnTo>
                  <a:lnTo>
                    <a:pt x="557" y="326"/>
                  </a:lnTo>
                  <a:lnTo>
                    <a:pt x="595" y="419"/>
                  </a:lnTo>
                  <a:lnTo>
                    <a:pt x="568" y="505"/>
                  </a:lnTo>
                  <a:lnTo>
                    <a:pt x="424" y="516"/>
                  </a:lnTo>
                  <a:lnTo>
                    <a:pt x="370" y="652"/>
                  </a:lnTo>
                  <a:lnTo>
                    <a:pt x="258" y="650"/>
                  </a:lnTo>
                  <a:lnTo>
                    <a:pt x="222" y="643"/>
                  </a:lnTo>
                  <a:lnTo>
                    <a:pt x="157" y="707"/>
                  </a:lnTo>
                  <a:lnTo>
                    <a:pt x="125" y="704"/>
                  </a:lnTo>
                  <a:lnTo>
                    <a:pt x="14" y="447"/>
                  </a:lnTo>
                  <a:lnTo>
                    <a:pt x="45" y="400"/>
                  </a:lnTo>
                  <a:lnTo>
                    <a:pt x="56" y="219"/>
                  </a:lnTo>
                  <a:lnTo>
                    <a:pt x="28" y="111"/>
                  </a:lnTo>
                  <a:lnTo>
                    <a:pt x="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50"/>
            <p:cNvSpPr>
              <a:spLocks/>
            </p:cNvSpPr>
            <p:nvPr/>
          </p:nvSpPr>
          <p:spPr bwMode="auto">
            <a:xfrm>
              <a:off x="2738438" y="4151313"/>
              <a:ext cx="214313" cy="214313"/>
            </a:xfrm>
            <a:custGeom>
              <a:avLst/>
              <a:gdLst>
                <a:gd name="T0" fmla="*/ 178 w 403"/>
                <a:gd name="T1" fmla="*/ 0 h 405"/>
                <a:gd name="T2" fmla="*/ 216 w 403"/>
                <a:gd name="T3" fmla="*/ 42 h 405"/>
                <a:gd name="T4" fmla="*/ 212 w 403"/>
                <a:gd name="T5" fmla="*/ 129 h 405"/>
                <a:gd name="T6" fmla="*/ 320 w 403"/>
                <a:gd name="T7" fmla="*/ 122 h 405"/>
                <a:gd name="T8" fmla="*/ 403 w 403"/>
                <a:gd name="T9" fmla="*/ 226 h 405"/>
                <a:gd name="T10" fmla="*/ 395 w 403"/>
                <a:gd name="T11" fmla="*/ 321 h 405"/>
                <a:gd name="T12" fmla="*/ 343 w 403"/>
                <a:gd name="T13" fmla="*/ 401 h 405"/>
                <a:gd name="T14" fmla="*/ 234 w 403"/>
                <a:gd name="T15" fmla="*/ 405 h 405"/>
                <a:gd name="T16" fmla="*/ 229 w 403"/>
                <a:gd name="T17" fmla="*/ 360 h 405"/>
                <a:gd name="T18" fmla="*/ 260 w 403"/>
                <a:gd name="T19" fmla="*/ 287 h 405"/>
                <a:gd name="T20" fmla="*/ 154 w 403"/>
                <a:gd name="T21" fmla="*/ 220 h 405"/>
                <a:gd name="T22" fmla="*/ 66 w 403"/>
                <a:gd name="T23" fmla="*/ 220 h 405"/>
                <a:gd name="T24" fmla="*/ 0 w 403"/>
                <a:gd name="T25" fmla="*/ 148 h 405"/>
                <a:gd name="T26" fmla="*/ 47 w 403"/>
                <a:gd name="T27" fmla="*/ 10 h 405"/>
                <a:gd name="T28" fmla="*/ 178 w 403"/>
                <a:gd name="T29" fmla="*/ 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3" h="405">
                  <a:moveTo>
                    <a:pt x="178" y="0"/>
                  </a:moveTo>
                  <a:lnTo>
                    <a:pt x="216" y="42"/>
                  </a:lnTo>
                  <a:lnTo>
                    <a:pt x="212" y="129"/>
                  </a:lnTo>
                  <a:lnTo>
                    <a:pt x="320" y="122"/>
                  </a:lnTo>
                  <a:lnTo>
                    <a:pt x="403" y="226"/>
                  </a:lnTo>
                  <a:lnTo>
                    <a:pt x="395" y="321"/>
                  </a:lnTo>
                  <a:lnTo>
                    <a:pt x="343" y="401"/>
                  </a:lnTo>
                  <a:lnTo>
                    <a:pt x="234" y="405"/>
                  </a:lnTo>
                  <a:lnTo>
                    <a:pt x="229" y="360"/>
                  </a:lnTo>
                  <a:lnTo>
                    <a:pt x="260" y="287"/>
                  </a:lnTo>
                  <a:lnTo>
                    <a:pt x="154" y="220"/>
                  </a:lnTo>
                  <a:lnTo>
                    <a:pt x="66" y="220"/>
                  </a:lnTo>
                  <a:lnTo>
                    <a:pt x="0" y="148"/>
                  </a:lnTo>
                  <a:lnTo>
                    <a:pt x="47" y="10"/>
                  </a:ln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51"/>
            <p:cNvSpPr>
              <a:spLocks/>
            </p:cNvSpPr>
            <p:nvPr/>
          </p:nvSpPr>
          <p:spPr bwMode="auto">
            <a:xfrm>
              <a:off x="2892425" y="4445000"/>
              <a:ext cx="141288" cy="144463"/>
            </a:xfrm>
            <a:custGeom>
              <a:avLst/>
              <a:gdLst>
                <a:gd name="T0" fmla="*/ 34 w 265"/>
                <a:gd name="T1" fmla="*/ 0 h 272"/>
                <a:gd name="T2" fmla="*/ 0 w 265"/>
                <a:gd name="T3" fmla="*/ 38 h 272"/>
                <a:gd name="T4" fmla="*/ 14 w 265"/>
                <a:gd name="T5" fmla="*/ 240 h 272"/>
                <a:gd name="T6" fmla="*/ 125 w 265"/>
                <a:gd name="T7" fmla="*/ 272 h 272"/>
                <a:gd name="T8" fmla="*/ 265 w 265"/>
                <a:gd name="T9" fmla="*/ 131 h 272"/>
                <a:gd name="T10" fmla="*/ 34 w 265"/>
                <a:gd name="T11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72">
                  <a:moveTo>
                    <a:pt x="34" y="0"/>
                  </a:moveTo>
                  <a:lnTo>
                    <a:pt x="0" y="38"/>
                  </a:lnTo>
                  <a:lnTo>
                    <a:pt x="14" y="240"/>
                  </a:lnTo>
                  <a:lnTo>
                    <a:pt x="125" y="272"/>
                  </a:lnTo>
                  <a:lnTo>
                    <a:pt x="265" y="131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52"/>
            <p:cNvSpPr>
              <a:spLocks/>
            </p:cNvSpPr>
            <p:nvPr/>
          </p:nvSpPr>
          <p:spPr bwMode="auto">
            <a:xfrm>
              <a:off x="2573338" y="4225925"/>
              <a:ext cx="401638" cy="950913"/>
            </a:xfrm>
            <a:custGeom>
              <a:avLst/>
              <a:gdLst>
                <a:gd name="T0" fmla="*/ 726 w 758"/>
                <a:gd name="T1" fmla="*/ 180 h 1798"/>
                <a:gd name="T2" fmla="*/ 758 w 758"/>
                <a:gd name="T3" fmla="*/ 210 h 1798"/>
                <a:gd name="T4" fmla="*/ 632 w 758"/>
                <a:gd name="T5" fmla="*/ 398 h 1798"/>
                <a:gd name="T6" fmla="*/ 588 w 758"/>
                <a:gd name="T7" fmla="*/ 448 h 1798"/>
                <a:gd name="T8" fmla="*/ 603 w 758"/>
                <a:gd name="T9" fmla="*/ 662 h 1798"/>
                <a:gd name="T10" fmla="*/ 700 w 758"/>
                <a:gd name="T11" fmla="*/ 780 h 1798"/>
                <a:gd name="T12" fmla="*/ 619 w 758"/>
                <a:gd name="T13" fmla="*/ 923 h 1798"/>
                <a:gd name="T14" fmla="*/ 557 w 758"/>
                <a:gd name="T15" fmla="*/ 949 h 1798"/>
                <a:gd name="T16" fmla="*/ 486 w 758"/>
                <a:gd name="T17" fmla="*/ 949 h 1798"/>
                <a:gd name="T18" fmla="*/ 505 w 758"/>
                <a:gd name="T19" fmla="*/ 1061 h 1798"/>
                <a:gd name="T20" fmla="*/ 395 w 758"/>
                <a:gd name="T21" fmla="*/ 1099 h 1798"/>
                <a:gd name="T22" fmla="*/ 421 w 758"/>
                <a:gd name="T23" fmla="*/ 1193 h 1798"/>
                <a:gd name="T24" fmla="*/ 355 w 758"/>
                <a:gd name="T25" fmla="*/ 1405 h 1798"/>
                <a:gd name="T26" fmla="*/ 437 w 758"/>
                <a:gd name="T27" fmla="*/ 1472 h 1798"/>
                <a:gd name="T28" fmla="*/ 393 w 758"/>
                <a:gd name="T29" fmla="*/ 1581 h 1798"/>
                <a:gd name="T30" fmla="*/ 318 w 758"/>
                <a:gd name="T31" fmla="*/ 1699 h 1798"/>
                <a:gd name="T32" fmla="*/ 357 w 758"/>
                <a:gd name="T33" fmla="*/ 1782 h 1798"/>
                <a:gd name="T34" fmla="*/ 260 w 758"/>
                <a:gd name="T35" fmla="*/ 1798 h 1798"/>
                <a:gd name="T36" fmla="*/ 180 w 758"/>
                <a:gd name="T37" fmla="*/ 1699 h 1798"/>
                <a:gd name="T38" fmla="*/ 166 w 758"/>
                <a:gd name="T39" fmla="*/ 1394 h 1798"/>
                <a:gd name="T40" fmla="*/ 43 w 758"/>
                <a:gd name="T41" fmla="*/ 874 h 1798"/>
                <a:gd name="T42" fmla="*/ 80 w 758"/>
                <a:gd name="T43" fmla="*/ 692 h 1798"/>
                <a:gd name="T44" fmla="*/ 0 w 758"/>
                <a:gd name="T45" fmla="*/ 461 h 1798"/>
                <a:gd name="T46" fmla="*/ 54 w 758"/>
                <a:gd name="T47" fmla="*/ 159 h 1798"/>
                <a:gd name="T48" fmla="*/ 103 w 758"/>
                <a:gd name="T49" fmla="*/ 102 h 1798"/>
                <a:gd name="T50" fmla="*/ 90 w 758"/>
                <a:gd name="T51" fmla="*/ 57 h 1798"/>
                <a:gd name="T52" fmla="*/ 153 w 758"/>
                <a:gd name="T53" fmla="*/ 0 h 1798"/>
                <a:gd name="T54" fmla="*/ 292 w 758"/>
                <a:gd name="T55" fmla="*/ 9 h 1798"/>
                <a:gd name="T56" fmla="*/ 370 w 758"/>
                <a:gd name="T57" fmla="*/ 93 h 1798"/>
                <a:gd name="T58" fmla="*/ 461 w 758"/>
                <a:gd name="T59" fmla="*/ 94 h 1798"/>
                <a:gd name="T60" fmla="*/ 553 w 758"/>
                <a:gd name="T61" fmla="*/ 151 h 1798"/>
                <a:gd name="T62" fmla="*/ 527 w 758"/>
                <a:gd name="T63" fmla="*/ 215 h 1798"/>
                <a:gd name="T64" fmla="*/ 533 w 758"/>
                <a:gd name="T65" fmla="*/ 279 h 1798"/>
                <a:gd name="T66" fmla="*/ 664 w 758"/>
                <a:gd name="T67" fmla="*/ 273 h 1798"/>
                <a:gd name="T68" fmla="*/ 726 w 758"/>
                <a:gd name="T69" fmla="*/ 180 h 1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58" h="1798">
                  <a:moveTo>
                    <a:pt x="726" y="180"/>
                  </a:moveTo>
                  <a:lnTo>
                    <a:pt x="758" y="210"/>
                  </a:lnTo>
                  <a:lnTo>
                    <a:pt x="632" y="398"/>
                  </a:lnTo>
                  <a:lnTo>
                    <a:pt x="588" y="448"/>
                  </a:lnTo>
                  <a:lnTo>
                    <a:pt x="603" y="662"/>
                  </a:lnTo>
                  <a:lnTo>
                    <a:pt x="700" y="780"/>
                  </a:lnTo>
                  <a:lnTo>
                    <a:pt x="619" y="923"/>
                  </a:lnTo>
                  <a:lnTo>
                    <a:pt x="557" y="949"/>
                  </a:lnTo>
                  <a:lnTo>
                    <a:pt x="486" y="949"/>
                  </a:lnTo>
                  <a:lnTo>
                    <a:pt x="505" y="1061"/>
                  </a:lnTo>
                  <a:lnTo>
                    <a:pt x="395" y="1099"/>
                  </a:lnTo>
                  <a:lnTo>
                    <a:pt x="421" y="1193"/>
                  </a:lnTo>
                  <a:lnTo>
                    <a:pt x="355" y="1405"/>
                  </a:lnTo>
                  <a:lnTo>
                    <a:pt x="437" y="1472"/>
                  </a:lnTo>
                  <a:lnTo>
                    <a:pt x="393" y="1581"/>
                  </a:lnTo>
                  <a:lnTo>
                    <a:pt x="318" y="1699"/>
                  </a:lnTo>
                  <a:lnTo>
                    <a:pt x="357" y="1782"/>
                  </a:lnTo>
                  <a:lnTo>
                    <a:pt x="260" y="1798"/>
                  </a:lnTo>
                  <a:lnTo>
                    <a:pt x="180" y="1699"/>
                  </a:lnTo>
                  <a:lnTo>
                    <a:pt x="166" y="1394"/>
                  </a:lnTo>
                  <a:lnTo>
                    <a:pt x="43" y="874"/>
                  </a:lnTo>
                  <a:lnTo>
                    <a:pt x="80" y="692"/>
                  </a:lnTo>
                  <a:lnTo>
                    <a:pt x="0" y="461"/>
                  </a:lnTo>
                  <a:lnTo>
                    <a:pt x="54" y="159"/>
                  </a:lnTo>
                  <a:lnTo>
                    <a:pt x="103" y="102"/>
                  </a:lnTo>
                  <a:lnTo>
                    <a:pt x="90" y="57"/>
                  </a:lnTo>
                  <a:lnTo>
                    <a:pt x="153" y="0"/>
                  </a:lnTo>
                  <a:lnTo>
                    <a:pt x="292" y="9"/>
                  </a:lnTo>
                  <a:lnTo>
                    <a:pt x="370" y="93"/>
                  </a:lnTo>
                  <a:lnTo>
                    <a:pt x="461" y="94"/>
                  </a:lnTo>
                  <a:lnTo>
                    <a:pt x="553" y="151"/>
                  </a:lnTo>
                  <a:lnTo>
                    <a:pt x="527" y="215"/>
                  </a:lnTo>
                  <a:lnTo>
                    <a:pt x="533" y="279"/>
                  </a:lnTo>
                  <a:lnTo>
                    <a:pt x="664" y="273"/>
                  </a:lnTo>
                  <a:lnTo>
                    <a:pt x="726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53"/>
            <p:cNvSpPr>
              <a:spLocks/>
            </p:cNvSpPr>
            <p:nvPr/>
          </p:nvSpPr>
          <p:spPr bwMode="auto">
            <a:xfrm>
              <a:off x="2733675" y="5189538"/>
              <a:ext cx="68263" cy="92075"/>
            </a:xfrm>
            <a:custGeom>
              <a:avLst/>
              <a:gdLst>
                <a:gd name="T0" fmla="*/ 74 w 128"/>
                <a:gd name="T1" fmla="*/ 0 h 174"/>
                <a:gd name="T2" fmla="*/ 0 w 128"/>
                <a:gd name="T3" fmla="*/ 161 h 174"/>
                <a:gd name="T4" fmla="*/ 126 w 128"/>
                <a:gd name="T5" fmla="*/ 174 h 174"/>
                <a:gd name="T6" fmla="*/ 128 w 128"/>
                <a:gd name="T7" fmla="*/ 67 h 174"/>
                <a:gd name="T8" fmla="*/ 74 w 128"/>
                <a:gd name="T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74">
                  <a:moveTo>
                    <a:pt x="74" y="0"/>
                  </a:moveTo>
                  <a:lnTo>
                    <a:pt x="0" y="161"/>
                  </a:lnTo>
                  <a:lnTo>
                    <a:pt x="126" y="174"/>
                  </a:lnTo>
                  <a:lnTo>
                    <a:pt x="128" y="67"/>
                  </a:lnTo>
                  <a:lnTo>
                    <a:pt x="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54"/>
            <p:cNvSpPr>
              <a:spLocks/>
            </p:cNvSpPr>
            <p:nvPr/>
          </p:nvSpPr>
          <p:spPr bwMode="auto">
            <a:xfrm>
              <a:off x="2808288" y="5232400"/>
              <a:ext cx="76200" cy="52388"/>
            </a:xfrm>
            <a:custGeom>
              <a:avLst/>
              <a:gdLst>
                <a:gd name="T0" fmla="*/ 0 w 144"/>
                <a:gd name="T1" fmla="*/ 0 h 99"/>
                <a:gd name="T2" fmla="*/ 5 w 144"/>
                <a:gd name="T3" fmla="*/ 99 h 99"/>
                <a:gd name="T4" fmla="*/ 80 w 144"/>
                <a:gd name="T5" fmla="*/ 92 h 99"/>
                <a:gd name="T6" fmla="*/ 144 w 144"/>
                <a:gd name="T7" fmla="*/ 49 h 99"/>
                <a:gd name="T8" fmla="*/ 35 w 144"/>
                <a:gd name="T9" fmla="*/ 27 h 99"/>
                <a:gd name="T10" fmla="*/ 0 w 144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99">
                  <a:moveTo>
                    <a:pt x="0" y="0"/>
                  </a:moveTo>
                  <a:lnTo>
                    <a:pt x="5" y="99"/>
                  </a:lnTo>
                  <a:lnTo>
                    <a:pt x="80" y="92"/>
                  </a:lnTo>
                  <a:lnTo>
                    <a:pt x="144" y="49"/>
                  </a:lnTo>
                  <a:lnTo>
                    <a:pt x="35" y="2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55"/>
            <p:cNvSpPr>
              <a:spLocks/>
            </p:cNvSpPr>
            <p:nvPr/>
          </p:nvSpPr>
          <p:spPr bwMode="auto">
            <a:xfrm>
              <a:off x="2528888" y="4121150"/>
              <a:ext cx="230188" cy="1125538"/>
            </a:xfrm>
            <a:custGeom>
              <a:avLst/>
              <a:gdLst>
                <a:gd name="T0" fmla="*/ 434 w 434"/>
                <a:gd name="T1" fmla="*/ 1995 h 2127"/>
                <a:gd name="T2" fmla="*/ 379 w 434"/>
                <a:gd name="T3" fmla="*/ 2056 h 2127"/>
                <a:gd name="T4" fmla="*/ 373 w 434"/>
                <a:gd name="T5" fmla="*/ 2127 h 2127"/>
                <a:gd name="T6" fmla="*/ 267 w 434"/>
                <a:gd name="T7" fmla="*/ 2067 h 2127"/>
                <a:gd name="T8" fmla="*/ 153 w 434"/>
                <a:gd name="T9" fmla="*/ 1903 h 2127"/>
                <a:gd name="T10" fmla="*/ 121 w 434"/>
                <a:gd name="T11" fmla="*/ 1846 h 2127"/>
                <a:gd name="T12" fmla="*/ 167 w 434"/>
                <a:gd name="T13" fmla="*/ 1786 h 2127"/>
                <a:gd name="T14" fmla="*/ 162 w 434"/>
                <a:gd name="T15" fmla="*/ 1710 h 2127"/>
                <a:gd name="T16" fmla="*/ 109 w 434"/>
                <a:gd name="T17" fmla="*/ 1687 h 2127"/>
                <a:gd name="T18" fmla="*/ 67 w 434"/>
                <a:gd name="T19" fmla="*/ 1656 h 2127"/>
                <a:gd name="T20" fmla="*/ 76 w 434"/>
                <a:gd name="T21" fmla="*/ 1614 h 2127"/>
                <a:gd name="T22" fmla="*/ 132 w 434"/>
                <a:gd name="T23" fmla="*/ 1598 h 2127"/>
                <a:gd name="T24" fmla="*/ 143 w 434"/>
                <a:gd name="T25" fmla="*/ 1352 h 2127"/>
                <a:gd name="T26" fmla="*/ 57 w 434"/>
                <a:gd name="T27" fmla="*/ 1304 h 2127"/>
                <a:gd name="T28" fmla="*/ 0 w 434"/>
                <a:gd name="T29" fmla="*/ 25 h 2127"/>
                <a:gd name="T30" fmla="*/ 14 w 434"/>
                <a:gd name="T31" fmla="*/ 0 h 2127"/>
                <a:gd name="T32" fmla="*/ 125 w 434"/>
                <a:gd name="T33" fmla="*/ 255 h 2127"/>
                <a:gd name="T34" fmla="*/ 160 w 434"/>
                <a:gd name="T35" fmla="*/ 256 h 2127"/>
                <a:gd name="T36" fmla="*/ 171 w 434"/>
                <a:gd name="T37" fmla="*/ 297 h 2127"/>
                <a:gd name="T38" fmla="*/ 125 w 434"/>
                <a:gd name="T39" fmla="*/ 353 h 2127"/>
                <a:gd name="T40" fmla="*/ 71 w 434"/>
                <a:gd name="T41" fmla="*/ 659 h 2127"/>
                <a:gd name="T42" fmla="*/ 147 w 434"/>
                <a:gd name="T43" fmla="*/ 894 h 2127"/>
                <a:gd name="T44" fmla="*/ 111 w 434"/>
                <a:gd name="T45" fmla="*/ 1073 h 2127"/>
                <a:gd name="T46" fmla="*/ 237 w 434"/>
                <a:gd name="T47" fmla="*/ 1598 h 2127"/>
                <a:gd name="T48" fmla="*/ 250 w 434"/>
                <a:gd name="T49" fmla="*/ 1905 h 2127"/>
                <a:gd name="T50" fmla="*/ 340 w 434"/>
                <a:gd name="T51" fmla="*/ 2009 h 2127"/>
                <a:gd name="T52" fmla="*/ 434 w 434"/>
                <a:gd name="T53" fmla="*/ 1995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2127">
                  <a:moveTo>
                    <a:pt x="434" y="1995"/>
                  </a:moveTo>
                  <a:lnTo>
                    <a:pt x="379" y="2056"/>
                  </a:lnTo>
                  <a:lnTo>
                    <a:pt x="373" y="2127"/>
                  </a:lnTo>
                  <a:lnTo>
                    <a:pt x="267" y="2067"/>
                  </a:lnTo>
                  <a:lnTo>
                    <a:pt x="153" y="1903"/>
                  </a:lnTo>
                  <a:lnTo>
                    <a:pt x="121" y="1846"/>
                  </a:lnTo>
                  <a:lnTo>
                    <a:pt x="167" y="1786"/>
                  </a:lnTo>
                  <a:lnTo>
                    <a:pt x="162" y="1710"/>
                  </a:lnTo>
                  <a:lnTo>
                    <a:pt x="109" y="1687"/>
                  </a:lnTo>
                  <a:lnTo>
                    <a:pt x="67" y="1656"/>
                  </a:lnTo>
                  <a:lnTo>
                    <a:pt x="76" y="1614"/>
                  </a:lnTo>
                  <a:lnTo>
                    <a:pt x="132" y="1598"/>
                  </a:lnTo>
                  <a:lnTo>
                    <a:pt x="143" y="1352"/>
                  </a:lnTo>
                  <a:lnTo>
                    <a:pt x="57" y="1304"/>
                  </a:lnTo>
                  <a:lnTo>
                    <a:pt x="0" y="25"/>
                  </a:lnTo>
                  <a:lnTo>
                    <a:pt x="14" y="0"/>
                  </a:lnTo>
                  <a:lnTo>
                    <a:pt x="125" y="255"/>
                  </a:lnTo>
                  <a:lnTo>
                    <a:pt x="160" y="256"/>
                  </a:lnTo>
                  <a:lnTo>
                    <a:pt x="171" y="297"/>
                  </a:lnTo>
                  <a:lnTo>
                    <a:pt x="125" y="353"/>
                  </a:lnTo>
                  <a:lnTo>
                    <a:pt x="71" y="659"/>
                  </a:lnTo>
                  <a:lnTo>
                    <a:pt x="147" y="894"/>
                  </a:lnTo>
                  <a:lnTo>
                    <a:pt x="111" y="1073"/>
                  </a:lnTo>
                  <a:lnTo>
                    <a:pt x="237" y="1598"/>
                  </a:lnTo>
                  <a:lnTo>
                    <a:pt x="250" y="1905"/>
                  </a:lnTo>
                  <a:lnTo>
                    <a:pt x="340" y="2009"/>
                  </a:lnTo>
                  <a:lnTo>
                    <a:pt x="434" y="19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56"/>
            <p:cNvSpPr>
              <a:spLocks/>
            </p:cNvSpPr>
            <p:nvPr/>
          </p:nvSpPr>
          <p:spPr bwMode="auto">
            <a:xfrm>
              <a:off x="2554288" y="4837113"/>
              <a:ext cx="23813" cy="49213"/>
            </a:xfrm>
            <a:custGeom>
              <a:avLst/>
              <a:gdLst>
                <a:gd name="T0" fmla="*/ 23 w 45"/>
                <a:gd name="T1" fmla="*/ 0 h 95"/>
                <a:gd name="T2" fmla="*/ 0 w 45"/>
                <a:gd name="T3" fmla="*/ 34 h 95"/>
                <a:gd name="T4" fmla="*/ 12 w 45"/>
                <a:gd name="T5" fmla="*/ 92 h 95"/>
                <a:gd name="T6" fmla="*/ 34 w 45"/>
                <a:gd name="T7" fmla="*/ 95 h 95"/>
                <a:gd name="T8" fmla="*/ 45 w 45"/>
                <a:gd name="T9" fmla="*/ 21 h 95"/>
                <a:gd name="T10" fmla="*/ 23 w 45"/>
                <a:gd name="T1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95">
                  <a:moveTo>
                    <a:pt x="23" y="0"/>
                  </a:moveTo>
                  <a:lnTo>
                    <a:pt x="0" y="34"/>
                  </a:lnTo>
                  <a:lnTo>
                    <a:pt x="12" y="92"/>
                  </a:lnTo>
                  <a:lnTo>
                    <a:pt x="34" y="95"/>
                  </a:lnTo>
                  <a:lnTo>
                    <a:pt x="45" y="2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57"/>
            <p:cNvSpPr>
              <a:spLocks/>
            </p:cNvSpPr>
            <p:nvPr/>
          </p:nvSpPr>
          <p:spPr bwMode="auto">
            <a:xfrm>
              <a:off x="2417763" y="3476625"/>
              <a:ext cx="995363" cy="1031875"/>
            </a:xfrm>
            <a:custGeom>
              <a:avLst/>
              <a:gdLst>
                <a:gd name="T0" fmla="*/ 1169 w 1879"/>
                <a:gd name="T1" fmla="*/ 1948 h 1948"/>
                <a:gd name="T2" fmla="*/ 1276 w 1879"/>
                <a:gd name="T3" fmla="*/ 1742 h 1948"/>
                <a:gd name="T4" fmla="*/ 1281 w 1879"/>
                <a:gd name="T5" fmla="*/ 1569 h 1948"/>
                <a:gd name="T6" fmla="*/ 1480 w 1879"/>
                <a:gd name="T7" fmla="*/ 1440 h 1948"/>
                <a:gd name="T8" fmla="*/ 1592 w 1879"/>
                <a:gd name="T9" fmla="*/ 1440 h 1948"/>
                <a:gd name="T10" fmla="*/ 1679 w 1879"/>
                <a:gd name="T11" fmla="*/ 1291 h 1948"/>
                <a:gd name="T12" fmla="*/ 1696 w 1879"/>
                <a:gd name="T13" fmla="*/ 1006 h 1948"/>
                <a:gd name="T14" fmla="*/ 1660 w 1879"/>
                <a:gd name="T15" fmla="*/ 930 h 1948"/>
                <a:gd name="T16" fmla="*/ 1871 w 1879"/>
                <a:gd name="T17" fmla="*/ 736 h 1948"/>
                <a:gd name="T18" fmla="*/ 1879 w 1879"/>
                <a:gd name="T19" fmla="*/ 523 h 1948"/>
                <a:gd name="T20" fmla="*/ 1592 w 1879"/>
                <a:gd name="T21" fmla="*/ 383 h 1948"/>
                <a:gd name="T22" fmla="*/ 1245 w 1879"/>
                <a:gd name="T23" fmla="*/ 274 h 1948"/>
                <a:gd name="T24" fmla="*/ 1081 w 1879"/>
                <a:gd name="T25" fmla="*/ 258 h 1948"/>
                <a:gd name="T26" fmla="*/ 1125 w 1879"/>
                <a:gd name="T27" fmla="*/ 165 h 1948"/>
                <a:gd name="T28" fmla="*/ 1113 w 1879"/>
                <a:gd name="T29" fmla="*/ 24 h 1948"/>
                <a:gd name="T30" fmla="*/ 1078 w 1879"/>
                <a:gd name="T31" fmla="*/ 12 h 1948"/>
                <a:gd name="T32" fmla="*/ 1024 w 1879"/>
                <a:gd name="T33" fmla="*/ 118 h 1948"/>
                <a:gd name="T34" fmla="*/ 996 w 1879"/>
                <a:gd name="T35" fmla="*/ 152 h 1948"/>
                <a:gd name="T36" fmla="*/ 925 w 1879"/>
                <a:gd name="T37" fmla="*/ 121 h 1948"/>
                <a:gd name="T38" fmla="*/ 686 w 1879"/>
                <a:gd name="T39" fmla="*/ 205 h 1948"/>
                <a:gd name="T40" fmla="*/ 606 w 1879"/>
                <a:gd name="T41" fmla="*/ 104 h 1948"/>
                <a:gd name="T42" fmla="*/ 619 w 1879"/>
                <a:gd name="T43" fmla="*/ 0 h 1948"/>
                <a:gd name="T44" fmla="*/ 544 w 1879"/>
                <a:gd name="T45" fmla="*/ 76 h 1948"/>
                <a:gd name="T46" fmla="*/ 460 w 1879"/>
                <a:gd name="T47" fmla="*/ 31 h 1948"/>
                <a:gd name="T48" fmla="*/ 451 w 1879"/>
                <a:gd name="T49" fmla="*/ 44 h 1948"/>
                <a:gd name="T50" fmla="*/ 452 w 1879"/>
                <a:gd name="T51" fmla="*/ 80 h 1948"/>
                <a:gd name="T52" fmla="*/ 523 w 1879"/>
                <a:gd name="T53" fmla="*/ 119 h 1948"/>
                <a:gd name="T54" fmla="*/ 416 w 1879"/>
                <a:gd name="T55" fmla="*/ 232 h 1948"/>
                <a:gd name="T56" fmla="*/ 348 w 1879"/>
                <a:gd name="T57" fmla="*/ 231 h 1948"/>
                <a:gd name="T58" fmla="*/ 279 w 1879"/>
                <a:gd name="T59" fmla="*/ 161 h 1948"/>
                <a:gd name="T60" fmla="*/ 201 w 1879"/>
                <a:gd name="T61" fmla="*/ 163 h 1948"/>
                <a:gd name="T62" fmla="*/ 192 w 1879"/>
                <a:gd name="T63" fmla="*/ 247 h 1948"/>
                <a:gd name="T64" fmla="*/ 236 w 1879"/>
                <a:gd name="T65" fmla="*/ 301 h 1948"/>
                <a:gd name="T66" fmla="*/ 183 w 1879"/>
                <a:gd name="T67" fmla="*/ 470 h 1948"/>
                <a:gd name="T68" fmla="*/ 121 w 1879"/>
                <a:gd name="T69" fmla="*/ 475 h 1948"/>
                <a:gd name="T70" fmla="*/ 24 w 1879"/>
                <a:gd name="T71" fmla="*/ 537 h 1948"/>
                <a:gd name="T72" fmla="*/ 0 w 1879"/>
                <a:gd name="T73" fmla="*/ 659 h 1948"/>
                <a:gd name="T74" fmla="*/ 85 w 1879"/>
                <a:gd name="T75" fmla="*/ 750 h 1948"/>
                <a:gd name="T76" fmla="*/ 100 w 1879"/>
                <a:gd name="T77" fmla="*/ 732 h 1948"/>
                <a:gd name="T78" fmla="*/ 160 w 1879"/>
                <a:gd name="T79" fmla="*/ 717 h 1948"/>
                <a:gd name="T80" fmla="*/ 211 w 1879"/>
                <a:gd name="T81" fmla="*/ 802 h 1948"/>
                <a:gd name="T82" fmla="*/ 357 w 1879"/>
                <a:gd name="T83" fmla="*/ 740 h 1948"/>
                <a:gd name="T84" fmla="*/ 414 w 1879"/>
                <a:gd name="T85" fmla="*/ 743 h 1948"/>
                <a:gd name="T86" fmla="*/ 453 w 1879"/>
                <a:gd name="T87" fmla="*/ 881 h 1948"/>
                <a:gd name="T88" fmla="*/ 661 w 1879"/>
                <a:gd name="T89" fmla="*/ 947 h 1948"/>
                <a:gd name="T90" fmla="*/ 697 w 1879"/>
                <a:gd name="T91" fmla="*/ 1058 h 1948"/>
                <a:gd name="T92" fmla="*/ 786 w 1879"/>
                <a:gd name="T93" fmla="*/ 1068 h 1948"/>
                <a:gd name="T94" fmla="*/ 829 w 1879"/>
                <a:gd name="T95" fmla="*/ 1173 h 1948"/>
                <a:gd name="T96" fmla="*/ 799 w 1879"/>
                <a:gd name="T97" fmla="*/ 1267 h 1948"/>
                <a:gd name="T98" fmla="*/ 837 w 1879"/>
                <a:gd name="T99" fmla="*/ 1316 h 1948"/>
                <a:gd name="T100" fmla="*/ 832 w 1879"/>
                <a:gd name="T101" fmla="*/ 1389 h 1948"/>
                <a:gd name="T102" fmla="*/ 931 w 1879"/>
                <a:gd name="T103" fmla="*/ 1380 h 1948"/>
                <a:gd name="T104" fmla="*/ 1024 w 1879"/>
                <a:gd name="T105" fmla="*/ 1495 h 1948"/>
                <a:gd name="T106" fmla="*/ 1016 w 1879"/>
                <a:gd name="T107" fmla="*/ 1576 h 1948"/>
                <a:gd name="T108" fmla="*/ 1070 w 1879"/>
                <a:gd name="T109" fmla="*/ 1623 h 1948"/>
                <a:gd name="T110" fmla="*/ 941 w 1879"/>
                <a:gd name="T111" fmla="*/ 1820 h 1948"/>
                <a:gd name="T112" fmla="*/ 1169 w 1879"/>
                <a:gd name="T113" fmla="*/ 1948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79" h="1948">
                  <a:moveTo>
                    <a:pt x="1169" y="1948"/>
                  </a:moveTo>
                  <a:lnTo>
                    <a:pt x="1276" y="1742"/>
                  </a:lnTo>
                  <a:lnTo>
                    <a:pt x="1281" y="1569"/>
                  </a:lnTo>
                  <a:lnTo>
                    <a:pt x="1480" y="1440"/>
                  </a:lnTo>
                  <a:lnTo>
                    <a:pt x="1592" y="1440"/>
                  </a:lnTo>
                  <a:lnTo>
                    <a:pt x="1679" y="1291"/>
                  </a:lnTo>
                  <a:lnTo>
                    <a:pt x="1696" y="1006"/>
                  </a:lnTo>
                  <a:lnTo>
                    <a:pt x="1660" y="930"/>
                  </a:lnTo>
                  <a:lnTo>
                    <a:pt x="1871" y="736"/>
                  </a:lnTo>
                  <a:lnTo>
                    <a:pt x="1879" y="523"/>
                  </a:lnTo>
                  <a:lnTo>
                    <a:pt x="1592" y="383"/>
                  </a:lnTo>
                  <a:lnTo>
                    <a:pt x="1245" y="274"/>
                  </a:lnTo>
                  <a:lnTo>
                    <a:pt x="1081" y="258"/>
                  </a:lnTo>
                  <a:lnTo>
                    <a:pt x="1125" y="165"/>
                  </a:lnTo>
                  <a:lnTo>
                    <a:pt x="1113" y="24"/>
                  </a:lnTo>
                  <a:lnTo>
                    <a:pt x="1078" y="12"/>
                  </a:lnTo>
                  <a:lnTo>
                    <a:pt x="1024" y="118"/>
                  </a:lnTo>
                  <a:lnTo>
                    <a:pt x="996" y="152"/>
                  </a:lnTo>
                  <a:lnTo>
                    <a:pt x="925" y="121"/>
                  </a:lnTo>
                  <a:lnTo>
                    <a:pt x="686" y="205"/>
                  </a:lnTo>
                  <a:lnTo>
                    <a:pt x="606" y="104"/>
                  </a:lnTo>
                  <a:lnTo>
                    <a:pt x="619" y="0"/>
                  </a:lnTo>
                  <a:lnTo>
                    <a:pt x="544" y="76"/>
                  </a:lnTo>
                  <a:lnTo>
                    <a:pt x="460" y="31"/>
                  </a:lnTo>
                  <a:lnTo>
                    <a:pt x="451" y="44"/>
                  </a:lnTo>
                  <a:lnTo>
                    <a:pt x="452" y="80"/>
                  </a:lnTo>
                  <a:lnTo>
                    <a:pt x="523" y="119"/>
                  </a:lnTo>
                  <a:lnTo>
                    <a:pt x="416" y="232"/>
                  </a:lnTo>
                  <a:lnTo>
                    <a:pt x="348" y="231"/>
                  </a:lnTo>
                  <a:lnTo>
                    <a:pt x="279" y="161"/>
                  </a:lnTo>
                  <a:lnTo>
                    <a:pt x="201" y="163"/>
                  </a:lnTo>
                  <a:lnTo>
                    <a:pt x="192" y="247"/>
                  </a:lnTo>
                  <a:lnTo>
                    <a:pt x="236" y="301"/>
                  </a:lnTo>
                  <a:lnTo>
                    <a:pt x="183" y="470"/>
                  </a:lnTo>
                  <a:lnTo>
                    <a:pt x="121" y="475"/>
                  </a:lnTo>
                  <a:lnTo>
                    <a:pt x="24" y="537"/>
                  </a:lnTo>
                  <a:lnTo>
                    <a:pt x="0" y="659"/>
                  </a:lnTo>
                  <a:lnTo>
                    <a:pt x="85" y="750"/>
                  </a:lnTo>
                  <a:lnTo>
                    <a:pt x="100" y="732"/>
                  </a:lnTo>
                  <a:lnTo>
                    <a:pt x="160" y="717"/>
                  </a:lnTo>
                  <a:lnTo>
                    <a:pt x="211" y="802"/>
                  </a:lnTo>
                  <a:lnTo>
                    <a:pt x="357" y="740"/>
                  </a:lnTo>
                  <a:lnTo>
                    <a:pt x="414" y="743"/>
                  </a:lnTo>
                  <a:lnTo>
                    <a:pt x="453" y="881"/>
                  </a:lnTo>
                  <a:lnTo>
                    <a:pt x="661" y="947"/>
                  </a:lnTo>
                  <a:lnTo>
                    <a:pt x="697" y="1058"/>
                  </a:lnTo>
                  <a:lnTo>
                    <a:pt x="786" y="1068"/>
                  </a:lnTo>
                  <a:lnTo>
                    <a:pt x="829" y="1173"/>
                  </a:lnTo>
                  <a:lnTo>
                    <a:pt x="799" y="1267"/>
                  </a:lnTo>
                  <a:lnTo>
                    <a:pt x="837" y="1316"/>
                  </a:lnTo>
                  <a:lnTo>
                    <a:pt x="832" y="1389"/>
                  </a:lnTo>
                  <a:lnTo>
                    <a:pt x="931" y="1380"/>
                  </a:lnTo>
                  <a:lnTo>
                    <a:pt x="1024" y="1495"/>
                  </a:lnTo>
                  <a:lnTo>
                    <a:pt x="1016" y="1576"/>
                  </a:lnTo>
                  <a:lnTo>
                    <a:pt x="1070" y="1623"/>
                  </a:lnTo>
                  <a:lnTo>
                    <a:pt x="941" y="1820"/>
                  </a:lnTo>
                  <a:lnTo>
                    <a:pt x="1169" y="19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58"/>
            <p:cNvSpPr>
              <a:spLocks/>
            </p:cNvSpPr>
            <p:nvPr/>
          </p:nvSpPr>
          <p:spPr bwMode="auto">
            <a:xfrm>
              <a:off x="2043113" y="3074988"/>
              <a:ext cx="33338" cy="47625"/>
            </a:xfrm>
            <a:custGeom>
              <a:avLst/>
              <a:gdLst>
                <a:gd name="T0" fmla="*/ 1 w 63"/>
                <a:gd name="T1" fmla="*/ 28 h 91"/>
                <a:gd name="T2" fmla="*/ 0 w 63"/>
                <a:gd name="T3" fmla="*/ 91 h 91"/>
                <a:gd name="T4" fmla="*/ 14 w 63"/>
                <a:gd name="T5" fmla="*/ 91 h 91"/>
                <a:gd name="T6" fmla="*/ 63 w 63"/>
                <a:gd name="T7" fmla="*/ 0 h 91"/>
                <a:gd name="T8" fmla="*/ 31 w 63"/>
                <a:gd name="T9" fmla="*/ 0 h 91"/>
                <a:gd name="T10" fmla="*/ 1 w 63"/>
                <a:gd name="T11" fmla="*/ 2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91">
                  <a:moveTo>
                    <a:pt x="1" y="28"/>
                  </a:moveTo>
                  <a:lnTo>
                    <a:pt x="0" y="91"/>
                  </a:lnTo>
                  <a:lnTo>
                    <a:pt x="14" y="91"/>
                  </a:lnTo>
                  <a:lnTo>
                    <a:pt x="63" y="0"/>
                  </a:lnTo>
                  <a:lnTo>
                    <a:pt x="31" y="0"/>
                  </a:lnTo>
                  <a:lnTo>
                    <a:pt x="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59"/>
            <p:cNvSpPr>
              <a:spLocks/>
            </p:cNvSpPr>
            <p:nvPr/>
          </p:nvSpPr>
          <p:spPr bwMode="auto">
            <a:xfrm>
              <a:off x="4862513" y="673100"/>
              <a:ext cx="3235325" cy="1752600"/>
            </a:xfrm>
            <a:custGeom>
              <a:avLst/>
              <a:gdLst>
                <a:gd name="T0" fmla="*/ 5326 w 6114"/>
                <a:gd name="T1" fmla="*/ 1006 h 3312"/>
                <a:gd name="T2" fmla="*/ 5374 w 6114"/>
                <a:gd name="T3" fmla="*/ 928 h 3312"/>
                <a:gd name="T4" fmla="*/ 5262 w 6114"/>
                <a:gd name="T5" fmla="*/ 1592 h 3312"/>
                <a:gd name="T6" fmla="*/ 5601 w 6114"/>
                <a:gd name="T7" fmla="*/ 1626 h 3312"/>
                <a:gd name="T8" fmla="*/ 5447 w 6114"/>
                <a:gd name="T9" fmla="*/ 1344 h 3312"/>
                <a:gd name="T10" fmla="*/ 5640 w 6114"/>
                <a:gd name="T11" fmla="*/ 1023 h 3312"/>
                <a:gd name="T12" fmla="*/ 5872 w 6114"/>
                <a:gd name="T13" fmla="*/ 693 h 3312"/>
                <a:gd name="T14" fmla="*/ 5713 w 6114"/>
                <a:gd name="T15" fmla="*/ 512 h 3312"/>
                <a:gd name="T16" fmla="*/ 5816 w 6114"/>
                <a:gd name="T17" fmla="*/ 351 h 3312"/>
                <a:gd name="T18" fmla="*/ 6031 w 6114"/>
                <a:gd name="T19" fmla="*/ 277 h 3312"/>
                <a:gd name="T20" fmla="*/ 5820 w 6114"/>
                <a:gd name="T21" fmla="*/ 117 h 3312"/>
                <a:gd name="T22" fmla="*/ 5111 w 6114"/>
                <a:gd name="T23" fmla="*/ 109 h 3312"/>
                <a:gd name="T24" fmla="*/ 4771 w 6114"/>
                <a:gd name="T25" fmla="*/ 282 h 3312"/>
                <a:gd name="T26" fmla="*/ 4143 w 6114"/>
                <a:gd name="T27" fmla="*/ 204 h 3312"/>
                <a:gd name="T28" fmla="*/ 3867 w 6114"/>
                <a:gd name="T29" fmla="*/ 425 h 3312"/>
                <a:gd name="T30" fmla="*/ 3424 w 6114"/>
                <a:gd name="T31" fmla="*/ 386 h 3312"/>
                <a:gd name="T32" fmla="*/ 3040 w 6114"/>
                <a:gd name="T33" fmla="*/ 464 h 3312"/>
                <a:gd name="T34" fmla="*/ 2581 w 6114"/>
                <a:gd name="T35" fmla="*/ 676 h 3312"/>
                <a:gd name="T36" fmla="*/ 2650 w 6114"/>
                <a:gd name="T37" fmla="*/ 247 h 3312"/>
                <a:gd name="T38" fmla="*/ 2310 w 6114"/>
                <a:gd name="T39" fmla="*/ 316 h 3312"/>
                <a:gd name="T40" fmla="*/ 1759 w 6114"/>
                <a:gd name="T41" fmla="*/ 828 h 3312"/>
                <a:gd name="T42" fmla="*/ 1681 w 6114"/>
                <a:gd name="T43" fmla="*/ 958 h 3312"/>
                <a:gd name="T44" fmla="*/ 1612 w 6114"/>
                <a:gd name="T45" fmla="*/ 1257 h 3312"/>
                <a:gd name="T46" fmla="*/ 1741 w 6114"/>
                <a:gd name="T47" fmla="*/ 1314 h 3312"/>
                <a:gd name="T48" fmla="*/ 1643 w 6114"/>
                <a:gd name="T49" fmla="*/ 1522 h 3312"/>
                <a:gd name="T50" fmla="*/ 1595 w 6114"/>
                <a:gd name="T51" fmla="*/ 1308 h 3312"/>
                <a:gd name="T52" fmla="*/ 1328 w 6114"/>
                <a:gd name="T53" fmla="*/ 1049 h 3312"/>
                <a:gd name="T54" fmla="*/ 1401 w 6114"/>
                <a:gd name="T55" fmla="*/ 1296 h 3312"/>
                <a:gd name="T56" fmla="*/ 1100 w 6114"/>
                <a:gd name="T57" fmla="*/ 1369 h 3312"/>
                <a:gd name="T58" fmla="*/ 683 w 6114"/>
                <a:gd name="T59" fmla="*/ 1591 h 3312"/>
                <a:gd name="T60" fmla="*/ 537 w 6114"/>
                <a:gd name="T61" fmla="*/ 1453 h 3312"/>
                <a:gd name="T62" fmla="*/ 562 w 6114"/>
                <a:gd name="T63" fmla="*/ 1674 h 3312"/>
                <a:gd name="T64" fmla="*/ 454 w 6114"/>
                <a:gd name="T65" fmla="*/ 1777 h 3312"/>
                <a:gd name="T66" fmla="*/ 266 w 6114"/>
                <a:gd name="T67" fmla="*/ 1861 h 3312"/>
                <a:gd name="T68" fmla="*/ 106 w 6114"/>
                <a:gd name="T69" fmla="*/ 1634 h 3312"/>
                <a:gd name="T70" fmla="*/ 403 w 6114"/>
                <a:gd name="T71" fmla="*/ 1548 h 3312"/>
                <a:gd name="T72" fmla="*/ 10 w 6114"/>
                <a:gd name="T73" fmla="*/ 1555 h 3312"/>
                <a:gd name="T74" fmla="*/ 76 w 6114"/>
                <a:gd name="T75" fmla="*/ 2099 h 3312"/>
                <a:gd name="T76" fmla="*/ 46 w 6114"/>
                <a:gd name="T77" fmla="*/ 2192 h 3312"/>
                <a:gd name="T78" fmla="*/ 139 w 6114"/>
                <a:gd name="T79" fmla="*/ 2427 h 3312"/>
                <a:gd name="T80" fmla="*/ 267 w 6114"/>
                <a:gd name="T81" fmla="*/ 2635 h 3312"/>
                <a:gd name="T82" fmla="*/ 649 w 6114"/>
                <a:gd name="T83" fmla="*/ 2775 h 3312"/>
                <a:gd name="T84" fmla="*/ 524 w 6114"/>
                <a:gd name="T85" fmla="*/ 3052 h 3312"/>
                <a:gd name="T86" fmla="*/ 722 w 6114"/>
                <a:gd name="T87" fmla="*/ 3186 h 3312"/>
                <a:gd name="T88" fmla="*/ 997 w 6114"/>
                <a:gd name="T89" fmla="*/ 3131 h 3312"/>
                <a:gd name="T90" fmla="*/ 909 w 6114"/>
                <a:gd name="T91" fmla="*/ 2873 h 3312"/>
                <a:gd name="T92" fmla="*/ 1230 w 6114"/>
                <a:gd name="T93" fmla="*/ 2714 h 3312"/>
                <a:gd name="T94" fmla="*/ 1458 w 6114"/>
                <a:gd name="T95" fmla="*/ 2471 h 3312"/>
                <a:gd name="T96" fmla="*/ 2296 w 6114"/>
                <a:gd name="T97" fmla="*/ 2575 h 3312"/>
                <a:gd name="T98" fmla="*/ 2800 w 6114"/>
                <a:gd name="T99" fmla="*/ 2489 h 3312"/>
                <a:gd name="T100" fmla="*/ 3019 w 6114"/>
                <a:gd name="T101" fmla="*/ 2455 h 3312"/>
                <a:gd name="T102" fmla="*/ 3338 w 6114"/>
                <a:gd name="T103" fmla="*/ 2493 h 3312"/>
                <a:gd name="T104" fmla="*/ 3643 w 6114"/>
                <a:gd name="T105" fmla="*/ 2498 h 3312"/>
                <a:gd name="T106" fmla="*/ 3992 w 6114"/>
                <a:gd name="T107" fmla="*/ 2298 h 3312"/>
                <a:gd name="T108" fmla="*/ 4337 w 6114"/>
                <a:gd name="T109" fmla="*/ 2325 h 3312"/>
                <a:gd name="T110" fmla="*/ 4702 w 6114"/>
                <a:gd name="T111" fmla="*/ 2346 h 3312"/>
                <a:gd name="T112" fmla="*/ 4681 w 6114"/>
                <a:gd name="T113" fmla="*/ 2749 h 3312"/>
                <a:gd name="T114" fmla="*/ 4745 w 6114"/>
                <a:gd name="T115" fmla="*/ 2789 h 3312"/>
                <a:gd name="T116" fmla="*/ 4925 w 6114"/>
                <a:gd name="T117" fmla="*/ 2281 h 3312"/>
                <a:gd name="T118" fmla="*/ 4641 w 6114"/>
                <a:gd name="T119" fmla="*/ 1960 h 3312"/>
                <a:gd name="T120" fmla="*/ 4796 w 6114"/>
                <a:gd name="T121" fmla="*/ 1401 h 3312"/>
                <a:gd name="T122" fmla="*/ 4994 w 6114"/>
                <a:gd name="T123" fmla="*/ 1418 h 3312"/>
                <a:gd name="T124" fmla="*/ 5046 w 6114"/>
                <a:gd name="T125" fmla="*/ 1254 h 3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14" h="3312">
                  <a:moveTo>
                    <a:pt x="5176" y="980"/>
                  </a:moveTo>
                  <a:lnTo>
                    <a:pt x="5206" y="1084"/>
                  </a:lnTo>
                  <a:lnTo>
                    <a:pt x="5266" y="1101"/>
                  </a:lnTo>
                  <a:lnTo>
                    <a:pt x="5326" y="1006"/>
                  </a:lnTo>
                  <a:lnTo>
                    <a:pt x="5293" y="941"/>
                  </a:lnTo>
                  <a:lnTo>
                    <a:pt x="5305" y="884"/>
                  </a:lnTo>
                  <a:lnTo>
                    <a:pt x="5395" y="884"/>
                  </a:lnTo>
                  <a:lnTo>
                    <a:pt x="5374" y="928"/>
                  </a:lnTo>
                  <a:lnTo>
                    <a:pt x="5383" y="1084"/>
                  </a:lnTo>
                  <a:lnTo>
                    <a:pt x="5253" y="1405"/>
                  </a:lnTo>
                  <a:lnTo>
                    <a:pt x="5266" y="1474"/>
                  </a:lnTo>
                  <a:lnTo>
                    <a:pt x="5262" y="1592"/>
                  </a:lnTo>
                  <a:lnTo>
                    <a:pt x="5503" y="1943"/>
                  </a:lnTo>
                  <a:lnTo>
                    <a:pt x="5550" y="1956"/>
                  </a:lnTo>
                  <a:lnTo>
                    <a:pt x="5554" y="1670"/>
                  </a:lnTo>
                  <a:lnTo>
                    <a:pt x="5601" y="1626"/>
                  </a:lnTo>
                  <a:lnTo>
                    <a:pt x="5550" y="1514"/>
                  </a:lnTo>
                  <a:lnTo>
                    <a:pt x="5593" y="1466"/>
                  </a:lnTo>
                  <a:lnTo>
                    <a:pt x="5499" y="1340"/>
                  </a:lnTo>
                  <a:lnTo>
                    <a:pt x="5447" y="1344"/>
                  </a:lnTo>
                  <a:lnTo>
                    <a:pt x="5430" y="1136"/>
                  </a:lnTo>
                  <a:lnTo>
                    <a:pt x="5563" y="1101"/>
                  </a:lnTo>
                  <a:lnTo>
                    <a:pt x="5572" y="1040"/>
                  </a:lnTo>
                  <a:lnTo>
                    <a:pt x="5640" y="1023"/>
                  </a:lnTo>
                  <a:lnTo>
                    <a:pt x="5679" y="1058"/>
                  </a:lnTo>
                  <a:lnTo>
                    <a:pt x="5726" y="867"/>
                  </a:lnTo>
                  <a:lnTo>
                    <a:pt x="5808" y="729"/>
                  </a:lnTo>
                  <a:lnTo>
                    <a:pt x="5872" y="693"/>
                  </a:lnTo>
                  <a:lnTo>
                    <a:pt x="5928" y="698"/>
                  </a:lnTo>
                  <a:lnTo>
                    <a:pt x="5928" y="632"/>
                  </a:lnTo>
                  <a:lnTo>
                    <a:pt x="5838" y="615"/>
                  </a:lnTo>
                  <a:lnTo>
                    <a:pt x="5713" y="512"/>
                  </a:lnTo>
                  <a:lnTo>
                    <a:pt x="5774" y="442"/>
                  </a:lnTo>
                  <a:lnTo>
                    <a:pt x="5722" y="325"/>
                  </a:lnTo>
                  <a:lnTo>
                    <a:pt x="5765" y="281"/>
                  </a:lnTo>
                  <a:lnTo>
                    <a:pt x="5816" y="351"/>
                  </a:lnTo>
                  <a:lnTo>
                    <a:pt x="5945" y="399"/>
                  </a:lnTo>
                  <a:lnTo>
                    <a:pt x="6087" y="412"/>
                  </a:lnTo>
                  <a:lnTo>
                    <a:pt x="6105" y="351"/>
                  </a:lnTo>
                  <a:lnTo>
                    <a:pt x="6031" y="277"/>
                  </a:lnTo>
                  <a:lnTo>
                    <a:pt x="6114" y="164"/>
                  </a:lnTo>
                  <a:lnTo>
                    <a:pt x="5928" y="99"/>
                  </a:lnTo>
                  <a:lnTo>
                    <a:pt x="5881" y="195"/>
                  </a:lnTo>
                  <a:lnTo>
                    <a:pt x="5820" y="117"/>
                  </a:lnTo>
                  <a:lnTo>
                    <a:pt x="5480" y="0"/>
                  </a:lnTo>
                  <a:lnTo>
                    <a:pt x="5158" y="56"/>
                  </a:lnTo>
                  <a:lnTo>
                    <a:pt x="5111" y="82"/>
                  </a:lnTo>
                  <a:lnTo>
                    <a:pt x="5111" y="109"/>
                  </a:lnTo>
                  <a:lnTo>
                    <a:pt x="5180" y="143"/>
                  </a:lnTo>
                  <a:lnTo>
                    <a:pt x="5171" y="225"/>
                  </a:lnTo>
                  <a:lnTo>
                    <a:pt x="5046" y="174"/>
                  </a:lnTo>
                  <a:lnTo>
                    <a:pt x="4771" y="282"/>
                  </a:lnTo>
                  <a:lnTo>
                    <a:pt x="4723" y="182"/>
                  </a:lnTo>
                  <a:lnTo>
                    <a:pt x="4534" y="182"/>
                  </a:lnTo>
                  <a:lnTo>
                    <a:pt x="4448" y="273"/>
                  </a:lnTo>
                  <a:lnTo>
                    <a:pt x="4143" y="204"/>
                  </a:lnTo>
                  <a:lnTo>
                    <a:pt x="3863" y="260"/>
                  </a:lnTo>
                  <a:lnTo>
                    <a:pt x="3828" y="347"/>
                  </a:lnTo>
                  <a:lnTo>
                    <a:pt x="3872" y="360"/>
                  </a:lnTo>
                  <a:lnTo>
                    <a:pt x="3867" y="425"/>
                  </a:lnTo>
                  <a:lnTo>
                    <a:pt x="3596" y="455"/>
                  </a:lnTo>
                  <a:lnTo>
                    <a:pt x="3613" y="542"/>
                  </a:lnTo>
                  <a:lnTo>
                    <a:pt x="3363" y="498"/>
                  </a:lnTo>
                  <a:lnTo>
                    <a:pt x="3424" y="386"/>
                  </a:lnTo>
                  <a:lnTo>
                    <a:pt x="3169" y="372"/>
                  </a:lnTo>
                  <a:lnTo>
                    <a:pt x="3192" y="490"/>
                  </a:lnTo>
                  <a:lnTo>
                    <a:pt x="3109" y="529"/>
                  </a:lnTo>
                  <a:lnTo>
                    <a:pt x="3040" y="464"/>
                  </a:lnTo>
                  <a:lnTo>
                    <a:pt x="2761" y="512"/>
                  </a:lnTo>
                  <a:lnTo>
                    <a:pt x="2654" y="611"/>
                  </a:lnTo>
                  <a:lnTo>
                    <a:pt x="2650" y="672"/>
                  </a:lnTo>
                  <a:lnTo>
                    <a:pt x="2581" y="676"/>
                  </a:lnTo>
                  <a:lnTo>
                    <a:pt x="2572" y="607"/>
                  </a:lnTo>
                  <a:lnTo>
                    <a:pt x="2792" y="416"/>
                  </a:lnTo>
                  <a:lnTo>
                    <a:pt x="2792" y="286"/>
                  </a:lnTo>
                  <a:lnTo>
                    <a:pt x="2650" y="247"/>
                  </a:lnTo>
                  <a:lnTo>
                    <a:pt x="2464" y="308"/>
                  </a:lnTo>
                  <a:lnTo>
                    <a:pt x="2387" y="229"/>
                  </a:lnTo>
                  <a:lnTo>
                    <a:pt x="2352" y="229"/>
                  </a:lnTo>
                  <a:lnTo>
                    <a:pt x="2310" y="316"/>
                  </a:lnTo>
                  <a:lnTo>
                    <a:pt x="2344" y="355"/>
                  </a:lnTo>
                  <a:lnTo>
                    <a:pt x="2099" y="489"/>
                  </a:lnTo>
                  <a:lnTo>
                    <a:pt x="1887" y="650"/>
                  </a:lnTo>
                  <a:lnTo>
                    <a:pt x="1759" y="828"/>
                  </a:lnTo>
                  <a:lnTo>
                    <a:pt x="1759" y="901"/>
                  </a:lnTo>
                  <a:lnTo>
                    <a:pt x="1897" y="958"/>
                  </a:lnTo>
                  <a:lnTo>
                    <a:pt x="1828" y="1010"/>
                  </a:lnTo>
                  <a:lnTo>
                    <a:pt x="1681" y="958"/>
                  </a:lnTo>
                  <a:lnTo>
                    <a:pt x="1621" y="1010"/>
                  </a:lnTo>
                  <a:lnTo>
                    <a:pt x="1530" y="905"/>
                  </a:lnTo>
                  <a:lnTo>
                    <a:pt x="1513" y="945"/>
                  </a:lnTo>
                  <a:lnTo>
                    <a:pt x="1612" y="1257"/>
                  </a:lnTo>
                  <a:lnTo>
                    <a:pt x="1638" y="1266"/>
                  </a:lnTo>
                  <a:lnTo>
                    <a:pt x="1707" y="1231"/>
                  </a:lnTo>
                  <a:lnTo>
                    <a:pt x="1741" y="1257"/>
                  </a:lnTo>
                  <a:lnTo>
                    <a:pt x="1741" y="1314"/>
                  </a:lnTo>
                  <a:lnTo>
                    <a:pt x="1676" y="1287"/>
                  </a:lnTo>
                  <a:lnTo>
                    <a:pt x="1638" y="1318"/>
                  </a:lnTo>
                  <a:lnTo>
                    <a:pt x="1664" y="1374"/>
                  </a:lnTo>
                  <a:lnTo>
                    <a:pt x="1643" y="1522"/>
                  </a:lnTo>
                  <a:lnTo>
                    <a:pt x="1509" y="1535"/>
                  </a:lnTo>
                  <a:lnTo>
                    <a:pt x="1501" y="1487"/>
                  </a:lnTo>
                  <a:lnTo>
                    <a:pt x="1578" y="1439"/>
                  </a:lnTo>
                  <a:lnTo>
                    <a:pt x="1595" y="1308"/>
                  </a:lnTo>
                  <a:lnTo>
                    <a:pt x="1509" y="1196"/>
                  </a:lnTo>
                  <a:lnTo>
                    <a:pt x="1478" y="1001"/>
                  </a:lnTo>
                  <a:lnTo>
                    <a:pt x="1341" y="980"/>
                  </a:lnTo>
                  <a:lnTo>
                    <a:pt x="1328" y="1049"/>
                  </a:lnTo>
                  <a:lnTo>
                    <a:pt x="1355" y="1083"/>
                  </a:lnTo>
                  <a:lnTo>
                    <a:pt x="1298" y="1131"/>
                  </a:lnTo>
                  <a:lnTo>
                    <a:pt x="1320" y="1262"/>
                  </a:lnTo>
                  <a:lnTo>
                    <a:pt x="1401" y="1296"/>
                  </a:lnTo>
                  <a:lnTo>
                    <a:pt x="1419" y="1392"/>
                  </a:lnTo>
                  <a:lnTo>
                    <a:pt x="1337" y="1340"/>
                  </a:lnTo>
                  <a:lnTo>
                    <a:pt x="1126" y="1300"/>
                  </a:lnTo>
                  <a:lnTo>
                    <a:pt x="1100" y="1369"/>
                  </a:lnTo>
                  <a:lnTo>
                    <a:pt x="932" y="1430"/>
                  </a:lnTo>
                  <a:lnTo>
                    <a:pt x="907" y="1388"/>
                  </a:lnTo>
                  <a:lnTo>
                    <a:pt x="687" y="1508"/>
                  </a:lnTo>
                  <a:lnTo>
                    <a:pt x="683" y="1591"/>
                  </a:lnTo>
                  <a:lnTo>
                    <a:pt x="596" y="1604"/>
                  </a:lnTo>
                  <a:lnTo>
                    <a:pt x="623" y="1543"/>
                  </a:lnTo>
                  <a:lnTo>
                    <a:pt x="623" y="1483"/>
                  </a:lnTo>
                  <a:lnTo>
                    <a:pt x="537" y="1453"/>
                  </a:lnTo>
                  <a:lnTo>
                    <a:pt x="481" y="1474"/>
                  </a:lnTo>
                  <a:lnTo>
                    <a:pt x="527" y="1565"/>
                  </a:lnTo>
                  <a:lnTo>
                    <a:pt x="562" y="1626"/>
                  </a:lnTo>
                  <a:lnTo>
                    <a:pt x="562" y="1674"/>
                  </a:lnTo>
                  <a:lnTo>
                    <a:pt x="497" y="1661"/>
                  </a:lnTo>
                  <a:lnTo>
                    <a:pt x="485" y="1647"/>
                  </a:lnTo>
                  <a:lnTo>
                    <a:pt x="420" y="1717"/>
                  </a:lnTo>
                  <a:lnTo>
                    <a:pt x="454" y="1777"/>
                  </a:lnTo>
                  <a:lnTo>
                    <a:pt x="308" y="1773"/>
                  </a:lnTo>
                  <a:lnTo>
                    <a:pt x="356" y="1834"/>
                  </a:lnTo>
                  <a:lnTo>
                    <a:pt x="343" y="1861"/>
                  </a:lnTo>
                  <a:lnTo>
                    <a:pt x="266" y="1861"/>
                  </a:lnTo>
                  <a:lnTo>
                    <a:pt x="209" y="1821"/>
                  </a:lnTo>
                  <a:lnTo>
                    <a:pt x="197" y="1712"/>
                  </a:lnTo>
                  <a:lnTo>
                    <a:pt x="106" y="1678"/>
                  </a:lnTo>
                  <a:lnTo>
                    <a:pt x="106" y="1634"/>
                  </a:lnTo>
                  <a:lnTo>
                    <a:pt x="295" y="1674"/>
                  </a:lnTo>
                  <a:lnTo>
                    <a:pt x="399" y="1682"/>
                  </a:lnTo>
                  <a:lnTo>
                    <a:pt x="441" y="1617"/>
                  </a:lnTo>
                  <a:lnTo>
                    <a:pt x="403" y="1548"/>
                  </a:lnTo>
                  <a:lnTo>
                    <a:pt x="128" y="1439"/>
                  </a:lnTo>
                  <a:lnTo>
                    <a:pt x="32" y="1463"/>
                  </a:lnTo>
                  <a:lnTo>
                    <a:pt x="0" y="1491"/>
                  </a:lnTo>
                  <a:lnTo>
                    <a:pt x="10" y="1555"/>
                  </a:lnTo>
                  <a:lnTo>
                    <a:pt x="50" y="1562"/>
                  </a:lnTo>
                  <a:lnTo>
                    <a:pt x="41" y="1664"/>
                  </a:lnTo>
                  <a:lnTo>
                    <a:pt x="166" y="1956"/>
                  </a:lnTo>
                  <a:lnTo>
                    <a:pt x="76" y="2099"/>
                  </a:lnTo>
                  <a:lnTo>
                    <a:pt x="70" y="2132"/>
                  </a:lnTo>
                  <a:lnTo>
                    <a:pt x="115" y="2163"/>
                  </a:lnTo>
                  <a:lnTo>
                    <a:pt x="74" y="2191"/>
                  </a:lnTo>
                  <a:lnTo>
                    <a:pt x="46" y="2192"/>
                  </a:lnTo>
                  <a:lnTo>
                    <a:pt x="51" y="2317"/>
                  </a:lnTo>
                  <a:lnTo>
                    <a:pt x="90" y="2370"/>
                  </a:lnTo>
                  <a:lnTo>
                    <a:pt x="90" y="2423"/>
                  </a:lnTo>
                  <a:lnTo>
                    <a:pt x="139" y="2427"/>
                  </a:lnTo>
                  <a:lnTo>
                    <a:pt x="213" y="2456"/>
                  </a:lnTo>
                  <a:lnTo>
                    <a:pt x="291" y="2563"/>
                  </a:lnTo>
                  <a:lnTo>
                    <a:pt x="292" y="2592"/>
                  </a:lnTo>
                  <a:lnTo>
                    <a:pt x="267" y="2635"/>
                  </a:lnTo>
                  <a:lnTo>
                    <a:pt x="325" y="2632"/>
                  </a:lnTo>
                  <a:lnTo>
                    <a:pt x="382" y="2648"/>
                  </a:lnTo>
                  <a:lnTo>
                    <a:pt x="459" y="2758"/>
                  </a:lnTo>
                  <a:lnTo>
                    <a:pt x="649" y="2775"/>
                  </a:lnTo>
                  <a:lnTo>
                    <a:pt x="640" y="2905"/>
                  </a:lnTo>
                  <a:lnTo>
                    <a:pt x="575" y="2961"/>
                  </a:lnTo>
                  <a:lnTo>
                    <a:pt x="588" y="2983"/>
                  </a:lnTo>
                  <a:lnTo>
                    <a:pt x="524" y="3052"/>
                  </a:lnTo>
                  <a:lnTo>
                    <a:pt x="507" y="3117"/>
                  </a:lnTo>
                  <a:lnTo>
                    <a:pt x="546" y="3173"/>
                  </a:lnTo>
                  <a:lnTo>
                    <a:pt x="671" y="3217"/>
                  </a:lnTo>
                  <a:lnTo>
                    <a:pt x="722" y="3186"/>
                  </a:lnTo>
                  <a:lnTo>
                    <a:pt x="1053" y="3312"/>
                  </a:lnTo>
                  <a:lnTo>
                    <a:pt x="1066" y="3278"/>
                  </a:lnTo>
                  <a:lnTo>
                    <a:pt x="997" y="3213"/>
                  </a:lnTo>
                  <a:lnTo>
                    <a:pt x="997" y="3131"/>
                  </a:lnTo>
                  <a:lnTo>
                    <a:pt x="955" y="3117"/>
                  </a:lnTo>
                  <a:lnTo>
                    <a:pt x="963" y="3047"/>
                  </a:lnTo>
                  <a:lnTo>
                    <a:pt x="1032" y="2965"/>
                  </a:lnTo>
                  <a:lnTo>
                    <a:pt x="909" y="2873"/>
                  </a:lnTo>
                  <a:lnTo>
                    <a:pt x="917" y="2744"/>
                  </a:lnTo>
                  <a:lnTo>
                    <a:pt x="1049" y="2658"/>
                  </a:lnTo>
                  <a:lnTo>
                    <a:pt x="1204" y="2667"/>
                  </a:lnTo>
                  <a:lnTo>
                    <a:pt x="1230" y="2714"/>
                  </a:lnTo>
                  <a:lnTo>
                    <a:pt x="1389" y="2723"/>
                  </a:lnTo>
                  <a:lnTo>
                    <a:pt x="1506" y="2658"/>
                  </a:lnTo>
                  <a:lnTo>
                    <a:pt x="1445" y="2593"/>
                  </a:lnTo>
                  <a:lnTo>
                    <a:pt x="1458" y="2471"/>
                  </a:lnTo>
                  <a:lnTo>
                    <a:pt x="1760" y="2324"/>
                  </a:lnTo>
                  <a:lnTo>
                    <a:pt x="1991" y="2428"/>
                  </a:lnTo>
                  <a:lnTo>
                    <a:pt x="2068" y="2359"/>
                  </a:lnTo>
                  <a:lnTo>
                    <a:pt x="2296" y="2575"/>
                  </a:lnTo>
                  <a:lnTo>
                    <a:pt x="2469" y="2558"/>
                  </a:lnTo>
                  <a:lnTo>
                    <a:pt x="2529" y="2619"/>
                  </a:lnTo>
                  <a:lnTo>
                    <a:pt x="2692" y="2636"/>
                  </a:lnTo>
                  <a:lnTo>
                    <a:pt x="2800" y="2489"/>
                  </a:lnTo>
                  <a:lnTo>
                    <a:pt x="2938" y="2550"/>
                  </a:lnTo>
                  <a:lnTo>
                    <a:pt x="3011" y="2562"/>
                  </a:lnTo>
                  <a:lnTo>
                    <a:pt x="3084" y="2497"/>
                  </a:lnTo>
                  <a:lnTo>
                    <a:pt x="3019" y="2455"/>
                  </a:lnTo>
                  <a:lnTo>
                    <a:pt x="3076" y="2367"/>
                  </a:lnTo>
                  <a:lnTo>
                    <a:pt x="3234" y="2420"/>
                  </a:lnTo>
                  <a:lnTo>
                    <a:pt x="3269" y="2489"/>
                  </a:lnTo>
                  <a:lnTo>
                    <a:pt x="3338" y="2493"/>
                  </a:lnTo>
                  <a:lnTo>
                    <a:pt x="3381" y="2463"/>
                  </a:lnTo>
                  <a:lnTo>
                    <a:pt x="3497" y="2459"/>
                  </a:lnTo>
                  <a:lnTo>
                    <a:pt x="3510" y="2489"/>
                  </a:lnTo>
                  <a:lnTo>
                    <a:pt x="3643" y="2498"/>
                  </a:lnTo>
                  <a:lnTo>
                    <a:pt x="3734" y="2403"/>
                  </a:lnTo>
                  <a:lnTo>
                    <a:pt x="3919" y="2424"/>
                  </a:lnTo>
                  <a:lnTo>
                    <a:pt x="3975" y="2403"/>
                  </a:lnTo>
                  <a:lnTo>
                    <a:pt x="3992" y="2298"/>
                  </a:lnTo>
                  <a:lnTo>
                    <a:pt x="3937" y="2172"/>
                  </a:lnTo>
                  <a:lnTo>
                    <a:pt x="3992" y="2125"/>
                  </a:lnTo>
                  <a:lnTo>
                    <a:pt x="4169" y="2125"/>
                  </a:lnTo>
                  <a:lnTo>
                    <a:pt x="4337" y="2325"/>
                  </a:lnTo>
                  <a:lnTo>
                    <a:pt x="4552" y="2445"/>
                  </a:lnTo>
                  <a:lnTo>
                    <a:pt x="4616" y="2445"/>
                  </a:lnTo>
                  <a:lnTo>
                    <a:pt x="4625" y="2394"/>
                  </a:lnTo>
                  <a:lnTo>
                    <a:pt x="4702" y="2346"/>
                  </a:lnTo>
                  <a:lnTo>
                    <a:pt x="4711" y="2628"/>
                  </a:lnTo>
                  <a:lnTo>
                    <a:pt x="4642" y="2632"/>
                  </a:lnTo>
                  <a:lnTo>
                    <a:pt x="4642" y="2701"/>
                  </a:lnTo>
                  <a:lnTo>
                    <a:pt x="4681" y="2749"/>
                  </a:lnTo>
                  <a:lnTo>
                    <a:pt x="4673" y="2811"/>
                  </a:lnTo>
                  <a:lnTo>
                    <a:pt x="4702" y="2823"/>
                  </a:lnTo>
                  <a:lnTo>
                    <a:pt x="4719" y="2779"/>
                  </a:lnTo>
                  <a:lnTo>
                    <a:pt x="4745" y="2789"/>
                  </a:lnTo>
                  <a:lnTo>
                    <a:pt x="4762" y="2806"/>
                  </a:lnTo>
                  <a:lnTo>
                    <a:pt x="4840" y="2789"/>
                  </a:lnTo>
                  <a:lnTo>
                    <a:pt x="4917" y="2563"/>
                  </a:lnTo>
                  <a:lnTo>
                    <a:pt x="4925" y="2281"/>
                  </a:lnTo>
                  <a:lnTo>
                    <a:pt x="4827" y="2056"/>
                  </a:lnTo>
                  <a:lnTo>
                    <a:pt x="4702" y="1903"/>
                  </a:lnTo>
                  <a:lnTo>
                    <a:pt x="4641" y="1912"/>
                  </a:lnTo>
                  <a:lnTo>
                    <a:pt x="4641" y="1960"/>
                  </a:lnTo>
                  <a:lnTo>
                    <a:pt x="4495" y="1903"/>
                  </a:lnTo>
                  <a:lnTo>
                    <a:pt x="4551" y="1783"/>
                  </a:lnTo>
                  <a:lnTo>
                    <a:pt x="4598" y="1462"/>
                  </a:lnTo>
                  <a:lnTo>
                    <a:pt x="4796" y="1401"/>
                  </a:lnTo>
                  <a:lnTo>
                    <a:pt x="4891" y="1340"/>
                  </a:lnTo>
                  <a:lnTo>
                    <a:pt x="4994" y="1340"/>
                  </a:lnTo>
                  <a:lnTo>
                    <a:pt x="4969" y="1374"/>
                  </a:lnTo>
                  <a:lnTo>
                    <a:pt x="4994" y="1418"/>
                  </a:lnTo>
                  <a:lnTo>
                    <a:pt x="5085" y="1323"/>
                  </a:lnTo>
                  <a:lnTo>
                    <a:pt x="5136" y="1327"/>
                  </a:lnTo>
                  <a:lnTo>
                    <a:pt x="5128" y="1271"/>
                  </a:lnTo>
                  <a:lnTo>
                    <a:pt x="5046" y="1254"/>
                  </a:lnTo>
                  <a:lnTo>
                    <a:pt x="5102" y="1050"/>
                  </a:lnTo>
                  <a:lnTo>
                    <a:pt x="5176" y="9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60"/>
            <p:cNvSpPr>
              <a:spLocks/>
            </p:cNvSpPr>
            <p:nvPr/>
          </p:nvSpPr>
          <p:spPr bwMode="auto">
            <a:xfrm>
              <a:off x="6035675" y="1804988"/>
              <a:ext cx="1311275" cy="1150938"/>
            </a:xfrm>
            <a:custGeom>
              <a:avLst/>
              <a:gdLst>
                <a:gd name="T0" fmla="*/ 375 w 2478"/>
                <a:gd name="T1" fmla="*/ 653 h 2174"/>
                <a:gd name="T2" fmla="*/ 206 w 2478"/>
                <a:gd name="T3" fmla="*/ 836 h 2174"/>
                <a:gd name="T4" fmla="*/ 129 w 2478"/>
                <a:gd name="T5" fmla="*/ 1138 h 2174"/>
                <a:gd name="T6" fmla="*/ 0 w 2478"/>
                <a:gd name="T7" fmla="*/ 1191 h 2174"/>
                <a:gd name="T8" fmla="*/ 73 w 2478"/>
                <a:gd name="T9" fmla="*/ 1233 h 2174"/>
                <a:gd name="T10" fmla="*/ 164 w 2478"/>
                <a:gd name="T11" fmla="*/ 1315 h 2174"/>
                <a:gd name="T12" fmla="*/ 348 w 2478"/>
                <a:gd name="T13" fmla="*/ 1676 h 2174"/>
                <a:gd name="T14" fmla="*/ 538 w 2478"/>
                <a:gd name="T15" fmla="*/ 1715 h 2174"/>
                <a:gd name="T16" fmla="*/ 813 w 2478"/>
                <a:gd name="T17" fmla="*/ 1832 h 2174"/>
                <a:gd name="T18" fmla="*/ 969 w 2478"/>
                <a:gd name="T19" fmla="*/ 1815 h 2174"/>
                <a:gd name="T20" fmla="*/ 1197 w 2478"/>
                <a:gd name="T21" fmla="*/ 1710 h 2174"/>
                <a:gd name="T22" fmla="*/ 1266 w 2478"/>
                <a:gd name="T23" fmla="*/ 1775 h 2174"/>
                <a:gd name="T24" fmla="*/ 1287 w 2478"/>
                <a:gd name="T25" fmla="*/ 1966 h 2174"/>
                <a:gd name="T26" fmla="*/ 1386 w 2478"/>
                <a:gd name="T27" fmla="*/ 2058 h 2174"/>
                <a:gd name="T28" fmla="*/ 1485 w 2478"/>
                <a:gd name="T29" fmla="*/ 2145 h 2174"/>
                <a:gd name="T30" fmla="*/ 1623 w 2478"/>
                <a:gd name="T31" fmla="*/ 2040 h 2174"/>
                <a:gd name="T32" fmla="*/ 1791 w 2478"/>
                <a:gd name="T33" fmla="*/ 2144 h 2174"/>
                <a:gd name="T34" fmla="*/ 1889 w 2478"/>
                <a:gd name="T35" fmla="*/ 2122 h 2174"/>
                <a:gd name="T36" fmla="*/ 1937 w 2478"/>
                <a:gd name="T37" fmla="*/ 2174 h 2174"/>
                <a:gd name="T38" fmla="*/ 2152 w 2478"/>
                <a:gd name="T39" fmla="*/ 2048 h 2174"/>
                <a:gd name="T40" fmla="*/ 2359 w 2478"/>
                <a:gd name="T41" fmla="*/ 1684 h 2174"/>
                <a:gd name="T42" fmla="*/ 2290 w 2478"/>
                <a:gd name="T43" fmla="*/ 1554 h 2174"/>
                <a:gd name="T44" fmla="*/ 2320 w 2478"/>
                <a:gd name="T45" fmla="*/ 1441 h 2174"/>
                <a:gd name="T46" fmla="*/ 2156 w 2478"/>
                <a:gd name="T47" fmla="*/ 1195 h 2174"/>
                <a:gd name="T48" fmla="*/ 2251 w 2478"/>
                <a:gd name="T49" fmla="*/ 1112 h 2174"/>
                <a:gd name="T50" fmla="*/ 2135 w 2478"/>
                <a:gd name="T51" fmla="*/ 1065 h 2174"/>
                <a:gd name="T52" fmla="*/ 2058 w 2478"/>
                <a:gd name="T53" fmla="*/ 1116 h 2174"/>
                <a:gd name="T54" fmla="*/ 2031 w 2478"/>
                <a:gd name="T55" fmla="*/ 930 h 2174"/>
                <a:gd name="T56" fmla="*/ 2148 w 2478"/>
                <a:gd name="T57" fmla="*/ 869 h 2174"/>
                <a:gd name="T58" fmla="*/ 2169 w 2478"/>
                <a:gd name="T59" fmla="*/ 995 h 2174"/>
                <a:gd name="T60" fmla="*/ 2268 w 2478"/>
                <a:gd name="T61" fmla="*/ 917 h 2174"/>
                <a:gd name="T62" fmla="*/ 2329 w 2478"/>
                <a:gd name="T63" fmla="*/ 778 h 2174"/>
                <a:gd name="T64" fmla="*/ 2411 w 2478"/>
                <a:gd name="T65" fmla="*/ 687 h 2174"/>
                <a:gd name="T66" fmla="*/ 2449 w 2478"/>
                <a:gd name="T67" fmla="*/ 609 h 2174"/>
                <a:gd name="T68" fmla="*/ 2412 w 2478"/>
                <a:gd name="T69" fmla="*/ 479 h 2174"/>
                <a:gd name="T70" fmla="*/ 2474 w 2478"/>
                <a:gd name="T71" fmla="*/ 233 h 2174"/>
                <a:gd name="T72" fmla="*/ 2410 w 2478"/>
                <a:gd name="T73" fmla="*/ 323 h 2174"/>
                <a:gd name="T74" fmla="*/ 2109 w 2478"/>
                <a:gd name="T75" fmla="*/ 197 h 2174"/>
                <a:gd name="T76" fmla="*/ 1784 w 2478"/>
                <a:gd name="T77" fmla="*/ 0 h 2174"/>
                <a:gd name="T78" fmla="*/ 1795 w 2478"/>
                <a:gd name="T79" fmla="*/ 158 h 2174"/>
                <a:gd name="T80" fmla="*/ 1710 w 2478"/>
                <a:gd name="T81" fmla="*/ 299 h 2174"/>
                <a:gd name="T82" fmla="*/ 1670 w 2478"/>
                <a:gd name="T83" fmla="*/ 409 h 2174"/>
                <a:gd name="T84" fmla="*/ 1777 w 2478"/>
                <a:gd name="T85" fmla="*/ 388 h 2174"/>
                <a:gd name="T86" fmla="*/ 1868 w 2478"/>
                <a:gd name="T87" fmla="*/ 474 h 2174"/>
                <a:gd name="T88" fmla="*/ 1752 w 2478"/>
                <a:gd name="T89" fmla="*/ 592 h 2174"/>
                <a:gd name="T90" fmla="*/ 1537 w 2478"/>
                <a:gd name="T91" fmla="*/ 817 h 2174"/>
                <a:gd name="T92" fmla="*/ 1240 w 2478"/>
                <a:gd name="T93" fmla="*/ 903 h 2174"/>
                <a:gd name="T94" fmla="*/ 1042 w 2478"/>
                <a:gd name="T95" fmla="*/ 908 h 2174"/>
                <a:gd name="T96" fmla="*/ 886 w 2478"/>
                <a:gd name="T97" fmla="*/ 787 h 2174"/>
                <a:gd name="T98" fmla="*/ 565 w 2478"/>
                <a:gd name="T99" fmla="*/ 592 h 2174"/>
                <a:gd name="T100" fmla="*/ 479 w 2478"/>
                <a:gd name="T101" fmla="*/ 507 h 2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78" h="2174">
                  <a:moveTo>
                    <a:pt x="434" y="503"/>
                  </a:moveTo>
                  <a:lnTo>
                    <a:pt x="375" y="653"/>
                  </a:lnTo>
                  <a:lnTo>
                    <a:pt x="293" y="649"/>
                  </a:lnTo>
                  <a:lnTo>
                    <a:pt x="206" y="836"/>
                  </a:lnTo>
                  <a:lnTo>
                    <a:pt x="279" y="930"/>
                  </a:lnTo>
                  <a:lnTo>
                    <a:pt x="129" y="1138"/>
                  </a:lnTo>
                  <a:lnTo>
                    <a:pt x="52" y="1125"/>
                  </a:lnTo>
                  <a:lnTo>
                    <a:pt x="0" y="1191"/>
                  </a:lnTo>
                  <a:lnTo>
                    <a:pt x="12" y="1229"/>
                  </a:lnTo>
                  <a:lnTo>
                    <a:pt x="73" y="1233"/>
                  </a:lnTo>
                  <a:lnTo>
                    <a:pt x="103" y="1303"/>
                  </a:lnTo>
                  <a:lnTo>
                    <a:pt x="164" y="1315"/>
                  </a:lnTo>
                  <a:lnTo>
                    <a:pt x="348" y="1554"/>
                  </a:lnTo>
                  <a:lnTo>
                    <a:pt x="348" y="1676"/>
                  </a:lnTo>
                  <a:lnTo>
                    <a:pt x="439" y="1733"/>
                  </a:lnTo>
                  <a:lnTo>
                    <a:pt x="538" y="1715"/>
                  </a:lnTo>
                  <a:lnTo>
                    <a:pt x="663" y="1789"/>
                  </a:lnTo>
                  <a:lnTo>
                    <a:pt x="813" y="1832"/>
                  </a:lnTo>
                  <a:lnTo>
                    <a:pt x="886" y="1823"/>
                  </a:lnTo>
                  <a:lnTo>
                    <a:pt x="969" y="1815"/>
                  </a:lnTo>
                  <a:lnTo>
                    <a:pt x="1141" y="1702"/>
                  </a:lnTo>
                  <a:lnTo>
                    <a:pt x="1197" y="1710"/>
                  </a:lnTo>
                  <a:lnTo>
                    <a:pt x="1218" y="1761"/>
                  </a:lnTo>
                  <a:lnTo>
                    <a:pt x="1266" y="1775"/>
                  </a:lnTo>
                  <a:lnTo>
                    <a:pt x="1330" y="1871"/>
                  </a:lnTo>
                  <a:lnTo>
                    <a:pt x="1287" y="1966"/>
                  </a:lnTo>
                  <a:lnTo>
                    <a:pt x="1313" y="2031"/>
                  </a:lnTo>
                  <a:lnTo>
                    <a:pt x="1386" y="2058"/>
                  </a:lnTo>
                  <a:lnTo>
                    <a:pt x="1399" y="2136"/>
                  </a:lnTo>
                  <a:lnTo>
                    <a:pt x="1485" y="2145"/>
                  </a:lnTo>
                  <a:lnTo>
                    <a:pt x="1498" y="2105"/>
                  </a:lnTo>
                  <a:lnTo>
                    <a:pt x="1623" y="2040"/>
                  </a:lnTo>
                  <a:lnTo>
                    <a:pt x="1700" y="2044"/>
                  </a:lnTo>
                  <a:lnTo>
                    <a:pt x="1791" y="2144"/>
                  </a:lnTo>
                  <a:lnTo>
                    <a:pt x="1851" y="2118"/>
                  </a:lnTo>
                  <a:lnTo>
                    <a:pt x="1889" y="2122"/>
                  </a:lnTo>
                  <a:lnTo>
                    <a:pt x="1906" y="2170"/>
                  </a:lnTo>
                  <a:lnTo>
                    <a:pt x="1937" y="2174"/>
                  </a:lnTo>
                  <a:lnTo>
                    <a:pt x="1980" y="2113"/>
                  </a:lnTo>
                  <a:lnTo>
                    <a:pt x="2152" y="2048"/>
                  </a:lnTo>
                  <a:lnTo>
                    <a:pt x="2307" y="1863"/>
                  </a:lnTo>
                  <a:lnTo>
                    <a:pt x="2359" y="1684"/>
                  </a:lnTo>
                  <a:lnTo>
                    <a:pt x="2355" y="1567"/>
                  </a:lnTo>
                  <a:lnTo>
                    <a:pt x="2290" y="1554"/>
                  </a:lnTo>
                  <a:lnTo>
                    <a:pt x="2329" y="1511"/>
                  </a:lnTo>
                  <a:lnTo>
                    <a:pt x="2320" y="1441"/>
                  </a:lnTo>
                  <a:lnTo>
                    <a:pt x="2156" y="1277"/>
                  </a:lnTo>
                  <a:lnTo>
                    <a:pt x="2156" y="1195"/>
                  </a:lnTo>
                  <a:lnTo>
                    <a:pt x="2204" y="1134"/>
                  </a:lnTo>
                  <a:lnTo>
                    <a:pt x="2251" y="1112"/>
                  </a:lnTo>
                  <a:lnTo>
                    <a:pt x="2255" y="1065"/>
                  </a:lnTo>
                  <a:lnTo>
                    <a:pt x="2135" y="1065"/>
                  </a:lnTo>
                  <a:lnTo>
                    <a:pt x="2113" y="1130"/>
                  </a:lnTo>
                  <a:lnTo>
                    <a:pt x="2058" y="1116"/>
                  </a:lnTo>
                  <a:lnTo>
                    <a:pt x="1989" y="1042"/>
                  </a:lnTo>
                  <a:lnTo>
                    <a:pt x="2031" y="930"/>
                  </a:lnTo>
                  <a:lnTo>
                    <a:pt x="2092" y="865"/>
                  </a:lnTo>
                  <a:lnTo>
                    <a:pt x="2148" y="869"/>
                  </a:lnTo>
                  <a:lnTo>
                    <a:pt x="2139" y="969"/>
                  </a:lnTo>
                  <a:lnTo>
                    <a:pt x="2169" y="995"/>
                  </a:lnTo>
                  <a:lnTo>
                    <a:pt x="2242" y="922"/>
                  </a:lnTo>
                  <a:lnTo>
                    <a:pt x="2268" y="917"/>
                  </a:lnTo>
                  <a:lnTo>
                    <a:pt x="2260" y="861"/>
                  </a:lnTo>
                  <a:lnTo>
                    <a:pt x="2329" y="778"/>
                  </a:lnTo>
                  <a:lnTo>
                    <a:pt x="2380" y="783"/>
                  </a:lnTo>
                  <a:lnTo>
                    <a:pt x="2411" y="687"/>
                  </a:lnTo>
                  <a:lnTo>
                    <a:pt x="2445" y="669"/>
                  </a:lnTo>
                  <a:lnTo>
                    <a:pt x="2449" y="609"/>
                  </a:lnTo>
                  <a:lnTo>
                    <a:pt x="2415" y="573"/>
                  </a:lnTo>
                  <a:lnTo>
                    <a:pt x="2412" y="479"/>
                  </a:lnTo>
                  <a:lnTo>
                    <a:pt x="2478" y="475"/>
                  </a:lnTo>
                  <a:lnTo>
                    <a:pt x="2474" y="233"/>
                  </a:lnTo>
                  <a:lnTo>
                    <a:pt x="2427" y="261"/>
                  </a:lnTo>
                  <a:lnTo>
                    <a:pt x="2410" y="323"/>
                  </a:lnTo>
                  <a:lnTo>
                    <a:pt x="2333" y="323"/>
                  </a:lnTo>
                  <a:lnTo>
                    <a:pt x="2109" y="197"/>
                  </a:lnTo>
                  <a:lnTo>
                    <a:pt x="1947" y="2"/>
                  </a:lnTo>
                  <a:lnTo>
                    <a:pt x="1784" y="0"/>
                  </a:lnTo>
                  <a:lnTo>
                    <a:pt x="1742" y="36"/>
                  </a:lnTo>
                  <a:lnTo>
                    <a:pt x="1795" y="158"/>
                  </a:lnTo>
                  <a:lnTo>
                    <a:pt x="1776" y="272"/>
                  </a:lnTo>
                  <a:lnTo>
                    <a:pt x="1710" y="299"/>
                  </a:lnTo>
                  <a:lnTo>
                    <a:pt x="1673" y="296"/>
                  </a:lnTo>
                  <a:lnTo>
                    <a:pt x="1670" y="409"/>
                  </a:lnTo>
                  <a:lnTo>
                    <a:pt x="1708" y="418"/>
                  </a:lnTo>
                  <a:lnTo>
                    <a:pt x="1777" y="388"/>
                  </a:lnTo>
                  <a:lnTo>
                    <a:pt x="1868" y="431"/>
                  </a:lnTo>
                  <a:lnTo>
                    <a:pt x="1868" y="474"/>
                  </a:lnTo>
                  <a:lnTo>
                    <a:pt x="1804" y="479"/>
                  </a:lnTo>
                  <a:lnTo>
                    <a:pt x="1752" y="592"/>
                  </a:lnTo>
                  <a:lnTo>
                    <a:pt x="1704" y="596"/>
                  </a:lnTo>
                  <a:lnTo>
                    <a:pt x="1537" y="817"/>
                  </a:lnTo>
                  <a:lnTo>
                    <a:pt x="1360" y="895"/>
                  </a:lnTo>
                  <a:lnTo>
                    <a:pt x="1240" y="903"/>
                  </a:lnTo>
                  <a:lnTo>
                    <a:pt x="1158" y="847"/>
                  </a:lnTo>
                  <a:lnTo>
                    <a:pt x="1042" y="908"/>
                  </a:lnTo>
                  <a:lnTo>
                    <a:pt x="917" y="869"/>
                  </a:lnTo>
                  <a:lnTo>
                    <a:pt x="886" y="787"/>
                  </a:lnTo>
                  <a:lnTo>
                    <a:pt x="676" y="773"/>
                  </a:lnTo>
                  <a:lnTo>
                    <a:pt x="565" y="592"/>
                  </a:lnTo>
                  <a:lnTo>
                    <a:pt x="517" y="592"/>
                  </a:lnTo>
                  <a:lnTo>
                    <a:pt x="479" y="507"/>
                  </a:lnTo>
                  <a:lnTo>
                    <a:pt x="434" y="5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61"/>
            <p:cNvSpPr>
              <a:spLocks/>
            </p:cNvSpPr>
            <p:nvPr/>
          </p:nvSpPr>
          <p:spPr bwMode="auto">
            <a:xfrm>
              <a:off x="6296025" y="1935163"/>
              <a:ext cx="719138" cy="342900"/>
            </a:xfrm>
            <a:custGeom>
              <a:avLst/>
              <a:gdLst>
                <a:gd name="T0" fmla="*/ 0 w 1359"/>
                <a:gd name="T1" fmla="*/ 259 h 646"/>
                <a:gd name="T2" fmla="*/ 100 w 1359"/>
                <a:gd name="T3" fmla="*/ 127 h 646"/>
                <a:gd name="T4" fmla="*/ 220 w 1359"/>
                <a:gd name="T5" fmla="*/ 182 h 646"/>
                <a:gd name="T6" fmla="*/ 301 w 1359"/>
                <a:gd name="T7" fmla="*/ 204 h 646"/>
                <a:gd name="T8" fmla="*/ 400 w 1359"/>
                <a:gd name="T9" fmla="*/ 112 h 646"/>
                <a:gd name="T10" fmla="*/ 332 w 1359"/>
                <a:gd name="T11" fmla="*/ 62 h 646"/>
                <a:gd name="T12" fmla="*/ 377 w 1359"/>
                <a:gd name="T13" fmla="*/ 0 h 646"/>
                <a:gd name="T14" fmla="*/ 510 w 1359"/>
                <a:gd name="T15" fmla="*/ 47 h 646"/>
                <a:gd name="T16" fmla="*/ 556 w 1359"/>
                <a:gd name="T17" fmla="*/ 122 h 646"/>
                <a:gd name="T18" fmla="*/ 639 w 1359"/>
                <a:gd name="T19" fmla="*/ 124 h 646"/>
                <a:gd name="T20" fmla="*/ 683 w 1359"/>
                <a:gd name="T21" fmla="*/ 92 h 646"/>
                <a:gd name="T22" fmla="*/ 773 w 1359"/>
                <a:gd name="T23" fmla="*/ 89 h 646"/>
                <a:gd name="T24" fmla="*/ 792 w 1359"/>
                <a:gd name="T25" fmla="*/ 121 h 646"/>
                <a:gd name="T26" fmla="*/ 940 w 1359"/>
                <a:gd name="T27" fmla="*/ 129 h 646"/>
                <a:gd name="T28" fmla="*/ 1035 w 1359"/>
                <a:gd name="T29" fmla="*/ 33 h 646"/>
                <a:gd name="T30" fmla="*/ 1166 w 1359"/>
                <a:gd name="T31" fmla="*/ 47 h 646"/>
                <a:gd name="T32" fmla="*/ 1158 w 1359"/>
                <a:gd name="T33" fmla="*/ 178 h 646"/>
                <a:gd name="T34" fmla="*/ 1214 w 1359"/>
                <a:gd name="T35" fmla="*/ 190 h 646"/>
                <a:gd name="T36" fmla="*/ 1284 w 1359"/>
                <a:gd name="T37" fmla="*/ 159 h 646"/>
                <a:gd name="T38" fmla="*/ 1359 w 1359"/>
                <a:gd name="T39" fmla="*/ 195 h 646"/>
                <a:gd name="T40" fmla="*/ 1358 w 1359"/>
                <a:gd name="T41" fmla="*/ 214 h 646"/>
                <a:gd name="T42" fmla="*/ 1304 w 1359"/>
                <a:gd name="T43" fmla="*/ 216 h 646"/>
                <a:gd name="T44" fmla="*/ 1248 w 1359"/>
                <a:gd name="T45" fmla="*/ 333 h 646"/>
                <a:gd name="T46" fmla="*/ 1204 w 1359"/>
                <a:gd name="T47" fmla="*/ 338 h 646"/>
                <a:gd name="T48" fmla="*/ 1035 w 1359"/>
                <a:gd name="T49" fmla="*/ 559 h 646"/>
                <a:gd name="T50" fmla="*/ 862 w 1359"/>
                <a:gd name="T51" fmla="*/ 635 h 646"/>
                <a:gd name="T52" fmla="*/ 754 w 1359"/>
                <a:gd name="T53" fmla="*/ 643 h 646"/>
                <a:gd name="T54" fmla="*/ 664 w 1359"/>
                <a:gd name="T55" fmla="*/ 585 h 646"/>
                <a:gd name="T56" fmla="*/ 550 w 1359"/>
                <a:gd name="T57" fmla="*/ 646 h 646"/>
                <a:gd name="T58" fmla="*/ 437 w 1359"/>
                <a:gd name="T59" fmla="*/ 612 h 646"/>
                <a:gd name="T60" fmla="*/ 404 w 1359"/>
                <a:gd name="T61" fmla="*/ 529 h 646"/>
                <a:gd name="T62" fmla="*/ 190 w 1359"/>
                <a:gd name="T63" fmla="*/ 514 h 646"/>
                <a:gd name="T64" fmla="*/ 81 w 1359"/>
                <a:gd name="T65" fmla="*/ 328 h 646"/>
                <a:gd name="T66" fmla="*/ 28 w 1359"/>
                <a:gd name="T67" fmla="*/ 325 h 646"/>
                <a:gd name="T68" fmla="*/ 0 w 1359"/>
                <a:gd name="T69" fmla="*/ 259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59" h="646">
                  <a:moveTo>
                    <a:pt x="0" y="259"/>
                  </a:moveTo>
                  <a:lnTo>
                    <a:pt x="100" y="127"/>
                  </a:lnTo>
                  <a:lnTo>
                    <a:pt x="220" y="182"/>
                  </a:lnTo>
                  <a:lnTo>
                    <a:pt x="301" y="204"/>
                  </a:lnTo>
                  <a:lnTo>
                    <a:pt x="400" y="112"/>
                  </a:lnTo>
                  <a:lnTo>
                    <a:pt x="332" y="62"/>
                  </a:lnTo>
                  <a:lnTo>
                    <a:pt x="377" y="0"/>
                  </a:lnTo>
                  <a:lnTo>
                    <a:pt x="510" y="47"/>
                  </a:lnTo>
                  <a:lnTo>
                    <a:pt x="556" y="122"/>
                  </a:lnTo>
                  <a:lnTo>
                    <a:pt x="639" y="124"/>
                  </a:lnTo>
                  <a:lnTo>
                    <a:pt x="683" y="92"/>
                  </a:lnTo>
                  <a:lnTo>
                    <a:pt x="773" y="89"/>
                  </a:lnTo>
                  <a:lnTo>
                    <a:pt x="792" y="121"/>
                  </a:lnTo>
                  <a:lnTo>
                    <a:pt x="940" y="129"/>
                  </a:lnTo>
                  <a:lnTo>
                    <a:pt x="1035" y="33"/>
                  </a:lnTo>
                  <a:lnTo>
                    <a:pt x="1166" y="47"/>
                  </a:lnTo>
                  <a:lnTo>
                    <a:pt x="1158" y="178"/>
                  </a:lnTo>
                  <a:lnTo>
                    <a:pt x="1214" y="190"/>
                  </a:lnTo>
                  <a:lnTo>
                    <a:pt x="1284" y="159"/>
                  </a:lnTo>
                  <a:lnTo>
                    <a:pt x="1359" y="195"/>
                  </a:lnTo>
                  <a:lnTo>
                    <a:pt x="1358" y="214"/>
                  </a:lnTo>
                  <a:lnTo>
                    <a:pt x="1304" y="216"/>
                  </a:lnTo>
                  <a:lnTo>
                    <a:pt x="1248" y="333"/>
                  </a:lnTo>
                  <a:lnTo>
                    <a:pt x="1204" y="338"/>
                  </a:lnTo>
                  <a:lnTo>
                    <a:pt x="1035" y="559"/>
                  </a:lnTo>
                  <a:lnTo>
                    <a:pt x="862" y="635"/>
                  </a:lnTo>
                  <a:lnTo>
                    <a:pt x="754" y="643"/>
                  </a:lnTo>
                  <a:lnTo>
                    <a:pt x="664" y="585"/>
                  </a:lnTo>
                  <a:lnTo>
                    <a:pt x="550" y="646"/>
                  </a:lnTo>
                  <a:lnTo>
                    <a:pt x="437" y="612"/>
                  </a:lnTo>
                  <a:lnTo>
                    <a:pt x="404" y="529"/>
                  </a:lnTo>
                  <a:lnTo>
                    <a:pt x="190" y="514"/>
                  </a:lnTo>
                  <a:lnTo>
                    <a:pt x="81" y="328"/>
                  </a:lnTo>
                  <a:lnTo>
                    <a:pt x="28" y="325"/>
                  </a:lnTo>
                  <a:lnTo>
                    <a:pt x="0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62"/>
            <p:cNvSpPr>
              <a:spLocks/>
            </p:cNvSpPr>
            <p:nvPr/>
          </p:nvSpPr>
          <p:spPr bwMode="auto">
            <a:xfrm>
              <a:off x="7239000" y="2166938"/>
              <a:ext cx="107950" cy="192088"/>
            </a:xfrm>
            <a:custGeom>
              <a:avLst/>
              <a:gdLst>
                <a:gd name="T0" fmla="*/ 7 w 206"/>
                <a:gd name="T1" fmla="*/ 235 h 362"/>
                <a:gd name="T2" fmla="*/ 38 w 206"/>
                <a:gd name="T3" fmla="*/ 248 h 362"/>
                <a:gd name="T4" fmla="*/ 48 w 206"/>
                <a:gd name="T5" fmla="*/ 358 h 362"/>
                <a:gd name="T6" fmla="*/ 110 w 206"/>
                <a:gd name="T7" fmla="*/ 362 h 362"/>
                <a:gd name="T8" fmla="*/ 169 w 206"/>
                <a:gd name="T9" fmla="*/ 293 h 362"/>
                <a:gd name="T10" fmla="*/ 149 w 206"/>
                <a:gd name="T11" fmla="*/ 275 h 362"/>
                <a:gd name="T12" fmla="*/ 152 w 206"/>
                <a:gd name="T13" fmla="*/ 201 h 362"/>
                <a:gd name="T14" fmla="*/ 206 w 206"/>
                <a:gd name="T15" fmla="*/ 135 h 362"/>
                <a:gd name="T16" fmla="*/ 178 w 206"/>
                <a:gd name="T17" fmla="*/ 85 h 362"/>
                <a:gd name="T18" fmla="*/ 197 w 206"/>
                <a:gd name="T19" fmla="*/ 65 h 362"/>
                <a:gd name="T20" fmla="*/ 206 w 206"/>
                <a:gd name="T21" fmla="*/ 14 h 362"/>
                <a:gd name="T22" fmla="*/ 174 w 206"/>
                <a:gd name="T23" fmla="*/ 0 h 362"/>
                <a:gd name="T24" fmla="*/ 148 w 206"/>
                <a:gd name="T25" fmla="*/ 13 h 362"/>
                <a:gd name="T26" fmla="*/ 115 w 206"/>
                <a:gd name="T27" fmla="*/ 114 h 362"/>
                <a:gd name="T28" fmla="*/ 62 w 206"/>
                <a:gd name="T29" fmla="*/ 109 h 362"/>
                <a:gd name="T30" fmla="*/ 0 w 206"/>
                <a:gd name="T31" fmla="*/ 182 h 362"/>
                <a:gd name="T32" fmla="*/ 7 w 206"/>
                <a:gd name="T33" fmla="*/ 235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6" h="362">
                  <a:moveTo>
                    <a:pt x="7" y="235"/>
                  </a:moveTo>
                  <a:lnTo>
                    <a:pt x="38" y="248"/>
                  </a:lnTo>
                  <a:lnTo>
                    <a:pt x="48" y="358"/>
                  </a:lnTo>
                  <a:lnTo>
                    <a:pt x="110" y="362"/>
                  </a:lnTo>
                  <a:lnTo>
                    <a:pt x="169" y="293"/>
                  </a:lnTo>
                  <a:lnTo>
                    <a:pt x="149" y="275"/>
                  </a:lnTo>
                  <a:lnTo>
                    <a:pt x="152" y="201"/>
                  </a:lnTo>
                  <a:lnTo>
                    <a:pt x="206" y="135"/>
                  </a:lnTo>
                  <a:lnTo>
                    <a:pt x="178" y="85"/>
                  </a:lnTo>
                  <a:lnTo>
                    <a:pt x="197" y="65"/>
                  </a:lnTo>
                  <a:lnTo>
                    <a:pt x="206" y="14"/>
                  </a:lnTo>
                  <a:lnTo>
                    <a:pt x="174" y="0"/>
                  </a:lnTo>
                  <a:lnTo>
                    <a:pt x="148" y="13"/>
                  </a:lnTo>
                  <a:lnTo>
                    <a:pt x="115" y="114"/>
                  </a:lnTo>
                  <a:lnTo>
                    <a:pt x="62" y="109"/>
                  </a:lnTo>
                  <a:lnTo>
                    <a:pt x="0" y="182"/>
                  </a:lnTo>
                  <a:lnTo>
                    <a:pt x="7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63"/>
            <p:cNvSpPr>
              <a:spLocks/>
            </p:cNvSpPr>
            <p:nvPr/>
          </p:nvSpPr>
          <p:spPr bwMode="auto">
            <a:xfrm>
              <a:off x="7304088" y="2327275"/>
              <a:ext cx="95250" cy="146050"/>
            </a:xfrm>
            <a:custGeom>
              <a:avLst/>
              <a:gdLst>
                <a:gd name="T0" fmla="*/ 54 w 178"/>
                <a:gd name="T1" fmla="*/ 0 h 275"/>
                <a:gd name="T2" fmla="*/ 160 w 178"/>
                <a:gd name="T3" fmla="*/ 86 h 275"/>
                <a:gd name="T4" fmla="*/ 178 w 178"/>
                <a:gd name="T5" fmla="*/ 169 h 275"/>
                <a:gd name="T6" fmla="*/ 175 w 178"/>
                <a:gd name="T7" fmla="*/ 214 h 275"/>
                <a:gd name="T8" fmla="*/ 123 w 178"/>
                <a:gd name="T9" fmla="*/ 273 h 275"/>
                <a:gd name="T10" fmla="*/ 79 w 178"/>
                <a:gd name="T11" fmla="*/ 275 h 275"/>
                <a:gd name="T12" fmla="*/ 28 w 178"/>
                <a:gd name="T13" fmla="*/ 166 h 275"/>
                <a:gd name="T14" fmla="*/ 9 w 178"/>
                <a:gd name="T15" fmla="*/ 113 h 275"/>
                <a:gd name="T16" fmla="*/ 29 w 178"/>
                <a:gd name="T17" fmla="*/ 98 h 275"/>
                <a:gd name="T18" fmla="*/ 24 w 178"/>
                <a:gd name="T19" fmla="*/ 76 h 275"/>
                <a:gd name="T20" fmla="*/ 0 w 178"/>
                <a:gd name="T21" fmla="*/ 65 h 275"/>
                <a:gd name="T22" fmla="*/ 54 w 178"/>
                <a:gd name="T23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8" h="275">
                  <a:moveTo>
                    <a:pt x="54" y="0"/>
                  </a:moveTo>
                  <a:lnTo>
                    <a:pt x="160" y="86"/>
                  </a:lnTo>
                  <a:lnTo>
                    <a:pt x="178" y="169"/>
                  </a:lnTo>
                  <a:lnTo>
                    <a:pt x="175" y="214"/>
                  </a:lnTo>
                  <a:lnTo>
                    <a:pt x="123" y="273"/>
                  </a:lnTo>
                  <a:lnTo>
                    <a:pt x="79" y="275"/>
                  </a:lnTo>
                  <a:lnTo>
                    <a:pt x="28" y="166"/>
                  </a:lnTo>
                  <a:lnTo>
                    <a:pt x="9" y="113"/>
                  </a:lnTo>
                  <a:lnTo>
                    <a:pt x="29" y="98"/>
                  </a:lnTo>
                  <a:lnTo>
                    <a:pt x="24" y="76"/>
                  </a:lnTo>
                  <a:lnTo>
                    <a:pt x="0" y="65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64"/>
            <p:cNvSpPr>
              <a:spLocks/>
            </p:cNvSpPr>
            <p:nvPr/>
          </p:nvSpPr>
          <p:spPr bwMode="auto">
            <a:xfrm>
              <a:off x="5353050" y="1911350"/>
              <a:ext cx="903288" cy="495300"/>
            </a:xfrm>
            <a:custGeom>
              <a:avLst/>
              <a:gdLst>
                <a:gd name="T0" fmla="*/ 119 w 1708"/>
                <a:gd name="T1" fmla="*/ 620 h 934"/>
                <a:gd name="T2" fmla="*/ 189 w 1708"/>
                <a:gd name="T3" fmla="*/ 591 h 934"/>
                <a:gd name="T4" fmla="*/ 267 w 1708"/>
                <a:gd name="T5" fmla="*/ 588 h 934"/>
                <a:gd name="T6" fmla="*/ 273 w 1708"/>
                <a:gd name="T7" fmla="*/ 707 h 934"/>
                <a:gd name="T8" fmla="*/ 227 w 1708"/>
                <a:gd name="T9" fmla="*/ 707 h 934"/>
                <a:gd name="T10" fmla="*/ 192 w 1708"/>
                <a:gd name="T11" fmla="*/ 764 h 934"/>
                <a:gd name="T12" fmla="*/ 238 w 1708"/>
                <a:gd name="T13" fmla="*/ 840 h 934"/>
                <a:gd name="T14" fmla="*/ 306 w 1708"/>
                <a:gd name="T15" fmla="*/ 879 h 934"/>
                <a:gd name="T16" fmla="*/ 312 w 1708"/>
                <a:gd name="T17" fmla="*/ 923 h 934"/>
                <a:gd name="T18" fmla="*/ 336 w 1708"/>
                <a:gd name="T19" fmla="*/ 914 h 934"/>
                <a:gd name="T20" fmla="*/ 360 w 1708"/>
                <a:gd name="T21" fmla="*/ 887 h 934"/>
                <a:gd name="T22" fmla="*/ 397 w 1708"/>
                <a:gd name="T23" fmla="*/ 895 h 934"/>
                <a:gd name="T24" fmla="*/ 416 w 1708"/>
                <a:gd name="T25" fmla="*/ 934 h 934"/>
                <a:gd name="T26" fmla="*/ 465 w 1708"/>
                <a:gd name="T27" fmla="*/ 934 h 934"/>
                <a:gd name="T28" fmla="*/ 465 w 1708"/>
                <a:gd name="T29" fmla="*/ 885 h 934"/>
                <a:gd name="T30" fmla="*/ 435 w 1708"/>
                <a:gd name="T31" fmla="*/ 798 h 934"/>
                <a:gd name="T32" fmla="*/ 422 w 1708"/>
                <a:gd name="T33" fmla="*/ 727 h 934"/>
                <a:gd name="T34" fmla="*/ 508 w 1708"/>
                <a:gd name="T35" fmla="*/ 688 h 934"/>
                <a:gd name="T36" fmla="*/ 624 w 1708"/>
                <a:gd name="T37" fmla="*/ 707 h 934"/>
                <a:gd name="T38" fmla="*/ 698 w 1708"/>
                <a:gd name="T39" fmla="*/ 781 h 934"/>
                <a:gd name="T40" fmla="*/ 862 w 1708"/>
                <a:gd name="T41" fmla="*/ 765 h 934"/>
                <a:gd name="T42" fmla="*/ 954 w 1708"/>
                <a:gd name="T43" fmla="*/ 895 h 934"/>
                <a:gd name="T44" fmla="*/ 1062 w 1708"/>
                <a:gd name="T45" fmla="*/ 901 h 934"/>
                <a:gd name="T46" fmla="*/ 1092 w 1708"/>
                <a:gd name="T47" fmla="*/ 852 h 934"/>
                <a:gd name="T48" fmla="*/ 1130 w 1708"/>
                <a:gd name="T49" fmla="*/ 843 h 934"/>
                <a:gd name="T50" fmla="*/ 1135 w 1708"/>
                <a:gd name="T51" fmla="*/ 790 h 934"/>
                <a:gd name="T52" fmla="*/ 1192 w 1708"/>
                <a:gd name="T53" fmla="*/ 787 h 934"/>
                <a:gd name="T54" fmla="*/ 1222 w 1708"/>
                <a:gd name="T55" fmla="*/ 822 h 934"/>
                <a:gd name="T56" fmla="*/ 1252 w 1708"/>
                <a:gd name="T57" fmla="*/ 751 h 934"/>
                <a:gd name="T58" fmla="*/ 1509 w 1708"/>
                <a:gd name="T59" fmla="*/ 787 h 934"/>
                <a:gd name="T60" fmla="*/ 1551 w 1708"/>
                <a:gd name="T61" fmla="*/ 730 h 934"/>
                <a:gd name="T62" fmla="*/ 1479 w 1708"/>
                <a:gd name="T63" fmla="*/ 639 h 934"/>
                <a:gd name="T64" fmla="*/ 1575 w 1708"/>
                <a:gd name="T65" fmla="*/ 427 h 934"/>
                <a:gd name="T66" fmla="*/ 1655 w 1708"/>
                <a:gd name="T67" fmla="*/ 432 h 934"/>
                <a:gd name="T68" fmla="*/ 1708 w 1708"/>
                <a:gd name="T69" fmla="*/ 302 h 934"/>
                <a:gd name="T70" fmla="*/ 1601 w 1708"/>
                <a:gd name="T71" fmla="*/ 291 h 934"/>
                <a:gd name="T72" fmla="*/ 1538 w 1708"/>
                <a:gd name="T73" fmla="*/ 231 h 934"/>
                <a:gd name="T74" fmla="*/ 1367 w 1708"/>
                <a:gd name="T75" fmla="*/ 251 h 934"/>
                <a:gd name="T76" fmla="*/ 1146 w 1708"/>
                <a:gd name="T77" fmla="*/ 37 h 934"/>
                <a:gd name="T78" fmla="*/ 1069 w 1708"/>
                <a:gd name="T79" fmla="*/ 106 h 934"/>
                <a:gd name="T80" fmla="*/ 833 w 1708"/>
                <a:gd name="T81" fmla="*/ 0 h 934"/>
                <a:gd name="T82" fmla="*/ 543 w 1708"/>
                <a:gd name="T83" fmla="*/ 141 h 934"/>
                <a:gd name="T84" fmla="*/ 535 w 1708"/>
                <a:gd name="T85" fmla="*/ 242 h 934"/>
                <a:gd name="T86" fmla="*/ 603 w 1708"/>
                <a:gd name="T87" fmla="*/ 321 h 934"/>
                <a:gd name="T88" fmla="*/ 471 w 1708"/>
                <a:gd name="T89" fmla="*/ 396 h 934"/>
                <a:gd name="T90" fmla="*/ 301 w 1708"/>
                <a:gd name="T91" fmla="*/ 392 h 934"/>
                <a:gd name="T92" fmla="*/ 264 w 1708"/>
                <a:gd name="T93" fmla="*/ 339 h 934"/>
                <a:gd name="T94" fmla="*/ 130 w 1708"/>
                <a:gd name="T95" fmla="*/ 332 h 934"/>
                <a:gd name="T96" fmla="*/ 3 w 1708"/>
                <a:gd name="T97" fmla="*/ 413 h 934"/>
                <a:gd name="T98" fmla="*/ 0 w 1708"/>
                <a:gd name="T99" fmla="*/ 525 h 934"/>
                <a:gd name="T100" fmla="*/ 119 w 1708"/>
                <a:gd name="T101" fmla="*/ 62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08" h="934">
                  <a:moveTo>
                    <a:pt x="119" y="620"/>
                  </a:moveTo>
                  <a:lnTo>
                    <a:pt x="189" y="591"/>
                  </a:lnTo>
                  <a:lnTo>
                    <a:pt x="267" y="588"/>
                  </a:lnTo>
                  <a:lnTo>
                    <a:pt x="273" y="707"/>
                  </a:lnTo>
                  <a:lnTo>
                    <a:pt x="227" y="707"/>
                  </a:lnTo>
                  <a:lnTo>
                    <a:pt x="192" y="764"/>
                  </a:lnTo>
                  <a:lnTo>
                    <a:pt x="238" y="840"/>
                  </a:lnTo>
                  <a:lnTo>
                    <a:pt x="306" y="879"/>
                  </a:lnTo>
                  <a:lnTo>
                    <a:pt x="312" y="923"/>
                  </a:lnTo>
                  <a:lnTo>
                    <a:pt x="336" y="914"/>
                  </a:lnTo>
                  <a:lnTo>
                    <a:pt x="360" y="887"/>
                  </a:lnTo>
                  <a:lnTo>
                    <a:pt x="397" y="895"/>
                  </a:lnTo>
                  <a:lnTo>
                    <a:pt x="416" y="934"/>
                  </a:lnTo>
                  <a:lnTo>
                    <a:pt x="465" y="934"/>
                  </a:lnTo>
                  <a:lnTo>
                    <a:pt x="465" y="885"/>
                  </a:lnTo>
                  <a:lnTo>
                    <a:pt x="435" y="798"/>
                  </a:lnTo>
                  <a:lnTo>
                    <a:pt x="422" y="727"/>
                  </a:lnTo>
                  <a:lnTo>
                    <a:pt x="508" y="688"/>
                  </a:lnTo>
                  <a:lnTo>
                    <a:pt x="624" y="707"/>
                  </a:lnTo>
                  <a:lnTo>
                    <a:pt x="698" y="781"/>
                  </a:lnTo>
                  <a:lnTo>
                    <a:pt x="862" y="765"/>
                  </a:lnTo>
                  <a:lnTo>
                    <a:pt x="954" y="895"/>
                  </a:lnTo>
                  <a:lnTo>
                    <a:pt x="1062" y="901"/>
                  </a:lnTo>
                  <a:lnTo>
                    <a:pt x="1092" y="852"/>
                  </a:lnTo>
                  <a:lnTo>
                    <a:pt x="1130" y="843"/>
                  </a:lnTo>
                  <a:lnTo>
                    <a:pt x="1135" y="790"/>
                  </a:lnTo>
                  <a:lnTo>
                    <a:pt x="1192" y="787"/>
                  </a:lnTo>
                  <a:lnTo>
                    <a:pt x="1222" y="822"/>
                  </a:lnTo>
                  <a:lnTo>
                    <a:pt x="1252" y="751"/>
                  </a:lnTo>
                  <a:lnTo>
                    <a:pt x="1509" y="787"/>
                  </a:lnTo>
                  <a:lnTo>
                    <a:pt x="1551" y="730"/>
                  </a:lnTo>
                  <a:lnTo>
                    <a:pt x="1479" y="639"/>
                  </a:lnTo>
                  <a:lnTo>
                    <a:pt x="1575" y="427"/>
                  </a:lnTo>
                  <a:lnTo>
                    <a:pt x="1655" y="432"/>
                  </a:lnTo>
                  <a:lnTo>
                    <a:pt x="1708" y="302"/>
                  </a:lnTo>
                  <a:lnTo>
                    <a:pt x="1601" y="291"/>
                  </a:lnTo>
                  <a:lnTo>
                    <a:pt x="1538" y="231"/>
                  </a:lnTo>
                  <a:lnTo>
                    <a:pt x="1367" y="251"/>
                  </a:lnTo>
                  <a:lnTo>
                    <a:pt x="1146" y="37"/>
                  </a:lnTo>
                  <a:lnTo>
                    <a:pt x="1069" y="106"/>
                  </a:lnTo>
                  <a:lnTo>
                    <a:pt x="833" y="0"/>
                  </a:lnTo>
                  <a:lnTo>
                    <a:pt x="543" y="141"/>
                  </a:lnTo>
                  <a:lnTo>
                    <a:pt x="535" y="242"/>
                  </a:lnTo>
                  <a:lnTo>
                    <a:pt x="603" y="321"/>
                  </a:lnTo>
                  <a:lnTo>
                    <a:pt x="471" y="396"/>
                  </a:lnTo>
                  <a:lnTo>
                    <a:pt x="301" y="392"/>
                  </a:lnTo>
                  <a:lnTo>
                    <a:pt x="264" y="339"/>
                  </a:lnTo>
                  <a:lnTo>
                    <a:pt x="130" y="332"/>
                  </a:lnTo>
                  <a:lnTo>
                    <a:pt x="3" y="413"/>
                  </a:lnTo>
                  <a:lnTo>
                    <a:pt x="0" y="525"/>
                  </a:lnTo>
                  <a:lnTo>
                    <a:pt x="119" y="6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65"/>
            <p:cNvSpPr>
              <a:spLocks/>
            </p:cNvSpPr>
            <p:nvPr/>
          </p:nvSpPr>
          <p:spPr bwMode="auto">
            <a:xfrm>
              <a:off x="5527675" y="2373313"/>
              <a:ext cx="352425" cy="212725"/>
            </a:xfrm>
            <a:custGeom>
              <a:avLst/>
              <a:gdLst>
                <a:gd name="T0" fmla="*/ 81 w 666"/>
                <a:gd name="T1" fmla="*/ 74 h 403"/>
                <a:gd name="T2" fmla="*/ 71 w 666"/>
                <a:gd name="T3" fmla="*/ 120 h 403"/>
                <a:gd name="T4" fmla="*/ 0 w 666"/>
                <a:gd name="T5" fmla="*/ 120 h 403"/>
                <a:gd name="T6" fmla="*/ 0 w 666"/>
                <a:gd name="T7" fmla="*/ 181 h 403"/>
                <a:gd name="T8" fmla="*/ 76 w 666"/>
                <a:gd name="T9" fmla="*/ 230 h 403"/>
                <a:gd name="T10" fmla="*/ 53 w 666"/>
                <a:gd name="T11" fmla="*/ 299 h 403"/>
                <a:gd name="T12" fmla="*/ 53 w 666"/>
                <a:gd name="T13" fmla="*/ 332 h 403"/>
                <a:gd name="T14" fmla="*/ 84 w 666"/>
                <a:gd name="T15" fmla="*/ 337 h 403"/>
                <a:gd name="T16" fmla="*/ 127 w 666"/>
                <a:gd name="T17" fmla="*/ 281 h 403"/>
                <a:gd name="T18" fmla="*/ 221 w 666"/>
                <a:gd name="T19" fmla="*/ 260 h 403"/>
                <a:gd name="T20" fmla="*/ 424 w 666"/>
                <a:gd name="T21" fmla="*/ 337 h 403"/>
                <a:gd name="T22" fmla="*/ 426 w 666"/>
                <a:gd name="T23" fmla="*/ 393 h 403"/>
                <a:gd name="T24" fmla="*/ 540 w 666"/>
                <a:gd name="T25" fmla="*/ 403 h 403"/>
                <a:gd name="T26" fmla="*/ 666 w 666"/>
                <a:gd name="T27" fmla="*/ 270 h 403"/>
                <a:gd name="T28" fmla="*/ 651 w 666"/>
                <a:gd name="T29" fmla="*/ 228 h 403"/>
                <a:gd name="T30" fmla="*/ 567 w 666"/>
                <a:gd name="T31" fmla="*/ 209 h 403"/>
                <a:gd name="T32" fmla="*/ 329 w 666"/>
                <a:gd name="T33" fmla="*/ 56 h 403"/>
                <a:gd name="T34" fmla="*/ 319 w 666"/>
                <a:gd name="T35" fmla="*/ 0 h 403"/>
                <a:gd name="T36" fmla="*/ 230 w 666"/>
                <a:gd name="T37" fmla="*/ 0 h 403"/>
                <a:gd name="T38" fmla="*/ 190 w 666"/>
                <a:gd name="T39" fmla="*/ 74 h 403"/>
                <a:gd name="T40" fmla="*/ 150 w 666"/>
                <a:gd name="T41" fmla="*/ 74 h 403"/>
                <a:gd name="T42" fmla="*/ 81 w 666"/>
                <a:gd name="T43" fmla="*/ 74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6" h="403">
                  <a:moveTo>
                    <a:pt x="81" y="74"/>
                  </a:moveTo>
                  <a:lnTo>
                    <a:pt x="71" y="120"/>
                  </a:lnTo>
                  <a:lnTo>
                    <a:pt x="0" y="120"/>
                  </a:lnTo>
                  <a:lnTo>
                    <a:pt x="0" y="181"/>
                  </a:lnTo>
                  <a:lnTo>
                    <a:pt x="76" y="230"/>
                  </a:lnTo>
                  <a:lnTo>
                    <a:pt x="53" y="299"/>
                  </a:lnTo>
                  <a:lnTo>
                    <a:pt x="53" y="332"/>
                  </a:lnTo>
                  <a:lnTo>
                    <a:pt x="84" y="337"/>
                  </a:lnTo>
                  <a:lnTo>
                    <a:pt x="127" y="281"/>
                  </a:lnTo>
                  <a:lnTo>
                    <a:pt x="221" y="260"/>
                  </a:lnTo>
                  <a:lnTo>
                    <a:pt x="424" y="337"/>
                  </a:lnTo>
                  <a:lnTo>
                    <a:pt x="426" y="393"/>
                  </a:lnTo>
                  <a:lnTo>
                    <a:pt x="540" y="403"/>
                  </a:lnTo>
                  <a:lnTo>
                    <a:pt x="666" y="270"/>
                  </a:lnTo>
                  <a:lnTo>
                    <a:pt x="651" y="228"/>
                  </a:lnTo>
                  <a:lnTo>
                    <a:pt x="567" y="209"/>
                  </a:lnTo>
                  <a:lnTo>
                    <a:pt x="329" y="56"/>
                  </a:lnTo>
                  <a:lnTo>
                    <a:pt x="319" y="0"/>
                  </a:lnTo>
                  <a:lnTo>
                    <a:pt x="230" y="0"/>
                  </a:lnTo>
                  <a:lnTo>
                    <a:pt x="190" y="74"/>
                  </a:lnTo>
                  <a:lnTo>
                    <a:pt x="150" y="74"/>
                  </a:lnTo>
                  <a:lnTo>
                    <a:pt x="81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266"/>
            <p:cNvSpPr>
              <a:spLocks/>
            </p:cNvSpPr>
            <p:nvPr/>
          </p:nvSpPr>
          <p:spPr bwMode="auto">
            <a:xfrm>
              <a:off x="5581650" y="2282825"/>
              <a:ext cx="436563" cy="234950"/>
            </a:xfrm>
            <a:custGeom>
              <a:avLst/>
              <a:gdLst>
                <a:gd name="T0" fmla="*/ 579 w 825"/>
                <a:gd name="T1" fmla="*/ 441 h 443"/>
                <a:gd name="T2" fmla="*/ 632 w 825"/>
                <a:gd name="T3" fmla="*/ 443 h 443"/>
                <a:gd name="T4" fmla="*/ 632 w 825"/>
                <a:gd name="T5" fmla="*/ 353 h 443"/>
                <a:gd name="T6" fmla="*/ 582 w 825"/>
                <a:gd name="T7" fmla="*/ 324 h 443"/>
                <a:gd name="T8" fmla="*/ 667 w 825"/>
                <a:gd name="T9" fmla="*/ 218 h 443"/>
                <a:gd name="T10" fmla="*/ 701 w 825"/>
                <a:gd name="T11" fmla="*/ 218 h 443"/>
                <a:gd name="T12" fmla="*/ 735 w 825"/>
                <a:gd name="T13" fmla="*/ 257 h 443"/>
                <a:gd name="T14" fmla="*/ 825 w 825"/>
                <a:gd name="T15" fmla="*/ 224 h 443"/>
                <a:gd name="T16" fmla="*/ 701 w 825"/>
                <a:gd name="T17" fmla="*/ 181 h 443"/>
                <a:gd name="T18" fmla="*/ 696 w 825"/>
                <a:gd name="T19" fmla="*/ 155 h 443"/>
                <a:gd name="T20" fmla="*/ 667 w 825"/>
                <a:gd name="T21" fmla="*/ 163 h 443"/>
                <a:gd name="T22" fmla="*/ 637 w 825"/>
                <a:gd name="T23" fmla="*/ 212 h 443"/>
                <a:gd name="T24" fmla="*/ 512 w 825"/>
                <a:gd name="T25" fmla="*/ 208 h 443"/>
                <a:gd name="T26" fmla="*/ 421 w 825"/>
                <a:gd name="T27" fmla="*/ 78 h 443"/>
                <a:gd name="T28" fmla="*/ 260 w 825"/>
                <a:gd name="T29" fmla="*/ 95 h 443"/>
                <a:gd name="T30" fmla="*/ 183 w 825"/>
                <a:gd name="T31" fmla="*/ 19 h 443"/>
                <a:gd name="T32" fmla="*/ 77 w 825"/>
                <a:gd name="T33" fmla="*/ 0 h 443"/>
                <a:gd name="T34" fmla="*/ 0 w 825"/>
                <a:gd name="T35" fmla="*/ 32 h 443"/>
                <a:gd name="T36" fmla="*/ 44 w 825"/>
                <a:gd name="T37" fmla="*/ 181 h 443"/>
                <a:gd name="T38" fmla="*/ 45 w 825"/>
                <a:gd name="T39" fmla="*/ 231 h 443"/>
                <a:gd name="T40" fmla="*/ 78 w 825"/>
                <a:gd name="T41" fmla="*/ 232 h 443"/>
                <a:gd name="T42" fmla="*/ 117 w 825"/>
                <a:gd name="T43" fmla="*/ 156 h 443"/>
                <a:gd name="T44" fmla="*/ 224 w 825"/>
                <a:gd name="T45" fmla="*/ 157 h 443"/>
                <a:gd name="T46" fmla="*/ 239 w 825"/>
                <a:gd name="T47" fmla="*/ 216 h 443"/>
                <a:gd name="T48" fmla="*/ 468 w 825"/>
                <a:gd name="T49" fmla="*/ 366 h 443"/>
                <a:gd name="T50" fmla="*/ 555 w 825"/>
                <a:gd name="T51" fmla="*/ 386 h 443"/>
                <a:gd name="T52" fmla="*/ 579 w 825"/>
                <a:gd name="T53" fmla="*/ 441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25" h="443">
                  <a:moveTo>
                    <a:pt x="579" y="441"/>
                  </a:moveTo>
                  <a:lnTo>
                    <a:pt x="632" y="443"/>
                  </a:lnTo>
                  <a:lnTo>
                    <a:pt x="632" y="353"/>
                  </a:lnTo>
                  <a:lnTo>
                    <a:pt x="582" y="324"/>
                  </a:lnTo>
                  <a:lnTo>
                    <a:pt x="667" y="218"/>
                  </a:lnTo>
                  <a:lnTo>
                    <a:pt x="701" y="218"/>
                  </a:lnTo>
                  <a:lnTo>
                    <a:pt x="735" y="257"/>
                  </a:lnTo>
                  <a:lnTo>
                    <a:pt x="825" y="224"/>
                  </a:lnTo>
                  <a:lnTo>
                    <a:pt x="701" y="181"/>
                  </a:lnTo>
                  <a:lnTo>
                    <a:pt x="696" y="155"/>
                  </a:lnTo>
                  <a:lnTo>
                    <a:pt x="667" y="163"/>
                  </a:lnTo>
                  <a:lnTo>
                    <a:pt x="637" y="212"/>
                  </a:lnTo>
                  <a:lnTo>
                    <a:pt x="512" y="208"/>
                  </a:lnTo>
                  <a:lnTo>
                    <a:pt x="421" y="78"/>
                  </a:lnTo>
                  <a:lnTo>
                    <a:pt x="260" y="95"/>
                  </a:lnTo>
                  <a:lnTo>
                    <a:pt x="183" y="19"/>
                  </a:lnTo>
                  <a:lnTo>
                    <a:pt x="77" y="0"/>
                  </a:lnTo>
                  <a:lnTo>
                    <a:pt x="0" y="32"/>
                  </a:lnTo>
                  <a:lnTo>
                    <a:pt x="44" y="181"/>
                  </a:lnTo>
                  <a:lnTo>
                    <a:pt x="45" y="231"/>
                  </a:lnTo>
                  <a:lnTo>
                    <a:pt x="78" y="232"/>
                  </a:lnTo>
                  <a:lnTo>
                    <a:pt x="117" y="156"/>
                  </a:lnTo>
                  <a:lnTo>
                    <a:pt x="224" y="157"/>
                  </a:lnTo>
                  <a:lnTo>
                    <a:pt x="239" y="216"/>
                  </a:lnTo>
                  <a:lnTo>
                    <a:pt x="468" y="366"/>
                  </a:lnTo>
                  <a:lnTo>
                    <a:pt x="555" y="386"/>
                  </a:lnTo>
                  <a:lnTo>
                    <a:pt x="579" y="4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267"/>
            <p:cNvSpPr>
              <a:spLocks/>
            </p:cNvSpPr>
            <p:nvPr/>
          </p:nvSpPr>
          <p:spPr bwMode="auto">
            <a:xfrm>
              <a:off x="5900738" y="2405063"/>
              <a:ext cx="184150" cy="115888"/>
            </a:xfrm>
            <a:custGeom>
              <a:avLst/>
              <a:gdLst>
                <a:gd name="T0" fmla="*/ 0 w 348"/>
                <a:gd name="T1" fmla="*/ 87 h 219"/>
                <a:gd name="T2" fmla="*/ 70 w 348"/>
                <a:gd name="T3" fmla="*/ 0 h 219"/>
                <a:gd name="T4" fmla="*/ 96 w 348"/>
                <a:gd name="T5" fmla="*/ 0 h 219"/>
                <a:gd name="T6" fmla="*/ 105 w 348"/>
                <a:gd name="T7" fmla="*/ 19 h 219"/>
                <a:gd name="T8" fmla="*/ 73 w 348"/>
                <a:gd name="T9" fmla="*/ 42 h 219"/>
                <a:gd name="T10" fmla="*/ 73 w 348"/>
                <a:gd name="T11" fmla="*/ 63 h 219"/>
                <a:gd name="T12" fmla="*/ 94 w 348"/>
                <a:gd name="T13" fmla="*/ 78 h 219"/>
                <a:gd name="T14" fmla="*/ 197 w 348"/>
                <a:gd name="T15" fmla="*/ 84 h 219"/>
                <a:gd name="T16" fmla="*/ 231 w 348"/>
                <a:gd name="T17" fmla="*/ 70 h 219"/>
                <a:gd name="T18" fmla="*/ 246 w 348"/>
                <a:gd name="T19" fmla="*/ 73 h 219"/>
                <a:gd name="T20" fmla="*/ 256 w 348"/>
                <a:gd name="T21" fmla="*/ 105 h 219"/>
                <a:gd name="T22" fmla="*/ 317 w 348"/>
                <a:gd name="T23" fmla="*/ 111 h 219"/>
                <a:gd name="T24" fmla="*/ 348 w 348"/>
                <a:gd name="T25" fmla="*/ 176 h 219"/>
                <a:gd name="T26" fmla="*/ 339 w 348"/>
                <a:gd name="T27" fmla="*/ 196 h 219"/>
                <a:gd name="T28" fmla="*/ 326 w 348"/>
                <a:gd name="T29" fmla="*/ 197 h 219"/>
                <a:gd name="T30" fmla="*/ 314 w 348"/>
                <a:gd name="T31" fmla="*/ 172 h 219"/>
                <a:gd name="T32" fmla="*/ 288 w 348"/>
                <a:gd name="T33" fmla="*/ 170 h 219"/>
                <a:gd name="T34" fmla="*/ 242 w 348"/>
                <a:gd name="T35" fmla="*/ 176 h 219"/>
                <a:gd name="T36" fmla="*/ 239 w 348"/>
                <a:gd name="T37" fmla="*/ 219 h 219"/>
                <a:gd name="T38" fmla="*/ 193 w 348"/>
                <a:gd name="T39" fmla="*/ 216 h 219"/>
                <a:gd name="T40" fmla="*/ 195 w 348"/>
                <a:gd name="T41" fmla="*/ 162 h 219"/>
                <a:gd name="T42" fmla="*/ 162 w 348"/>
                <a:gd name="T43" fmla="*/ 129 h 219"/>
                <a:gd name="T44" fmla="*/ 110 w 348"/>
                <a:gd name="T45" fmla="*/ 171 h 219"/>
                <a:gd name="T46" fmla="*/ 111 w 348"/>
                <a:gd name="T47" fmla="*/ 199 h 219"/>
                <a:gd name="T48" fmla="*/ 67 w 348"/>
                <a:gd name="T49" fmla="*/ 214 h 219"/>
                <a:gd name="T50" fmla="*/ 40 w 348"/>
                <a:gd name="T51" fmla="*/ 214 h 219"/>
                <a:gd name="T52" fmla="*/ 42 w 348"/>
                <a:gd name="T53" fmla="*/ 118 h 219"/>
                <a:gd name="T54" fmla="*/ 0 w 348"/>
                <a:gd name="T55" fmla="*/ 87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48" h="219">
                  <a:moveTo>
                    <a:pt x="0" y="87"/>
                  </a:moveTo>
                  <a:lnTo>
                    <a:pt x="70" y="0"/>
                  </a:lnTo>
                  <a:lnTo>
                    <a:pt x="96" y="0"/>
                  </a:lnTo>
                  <a:lnTo>
                    <a:pt x="105" y="19"/>
                  </a:lnTo>
                  <a:lnTo>
                    <a:pt x="73" y="42"/>
                  </a:lnTo>
                  <a:lnTo>
                    <a:pt x="73" y="63"/>
                  </a:lnTo>
                  <a:lnTo>
                    <a:pt x="94" y="78"/>
                  </a:lnTo>
                  <a:lnTo>
                    <a:pt x="197" y="84"/>
                  </a:lnTo>
                  <a:lnTo>
                    <a:pt x="231" y="70"/>
                  </a:lnTo>
                  <a:lnTo>
                    <a:pt x="246" y="73"/>
                  </a:lnTo>
                  <a:lnTo>
                    <a:pt x="256" y="105"/>
                  </a:lnTo>
                  <a:lnTo>
                    <a:pt x="317" y="111"/>
                  </a:lnTo>
                  <a:lnTo>
                    <a:pt x="348" y="176"/>
                  </a:lnTo>
                  <a:lnTo>
                    <a:pt x="339" y="196"/>
                  </a:lnTo>
                  <a:lnTo>
                    <a:pt x="326" y="197"/>
                  </a:lnTo>
                  <a:lnTo>
                    <a:pt x="314" y="172"/>
                  </a:lnTo>
                  <a:lnTo>
                    <a:pt x="288" y="170"/>
                  </a:lnTo>
                  <a:lnTo>
                    <a:pt x="242" y="176"/>
                  </a:lnTo>
                  <a:lnTo>
                    <a:pt x="239" y="219"/>
                  </a:lnTo>
                  <a:lnTo>
                    <a:pt x="193" y="216"/>
                  </a:lnTo>
                  <a:lnTo>
                    <a:pt x="195" y="162"/>
                  </a:lnTo>
                  <a:lnTo>
                    <a:pt x="162" y="129"/>
                  </a:lnTo>
                  <a:lnTo>
                    <a:pt x="110" y="171"/>
                  </a:lnTo>
                  <a:lnTo>
                    <a:pt x="111" y="199"/>
                  </a:lnTo>
                  <a:lnTo>
                    <a:pt x="67" y="214"/>
                  </a:lnTo>
                  <a:lnTo>
                    <a:pt x="40" y="214"/>
                  </a:lnTo>
                  <a:lnTo>
                    <a:pt x="42" y="118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68"/>
            <p:cNvSpPr>
              <a:spLocks/>
            </p:cNvSpPr>
            <p:nvPr/>
          </p:nvSpPr>
          <p:spPr bwMode="auto">
            <a:xfrm>
              <a:off x="5946775" y="2316163"/>
              <a:ext cx="200025" cy="125413"/>
            </a:xfrm>
            <a:custGeom>
              <a:avLst/>
              <a:gdLst>
                <a:gd name="T0" fmla="*/ 25 w 379"/>
                <a:gd name="T1" fmla="*/ 37 h 235"/>
                <a:gd name="T2" fmla="*/ 20 w 379"/>
                <a:gd name="T3" fmla="*/ 79 h 235"/>
                <a:gd name="T4" fmla="*/ 24 w 379"/>
                <a:gd name="T5" fmla="*/ 107 h 235"/>
                <a:gd name="T6" fmla="*/ 173 w 379"/>
                <a:gd name="T7" fmla="*/ 157 h 235"/>
                <a:gd name="T8" fmla="*/ 42 w 379"/>
                <a:gd name="T9" fmla="*/ 209 h 235"/>
                <a:gd name="T10" fmla="*/ 27 w 379"/>
                <a:gd name="T11" fmla="*/ 197 h 235"/>
                <a:gd name="T12" fmla="*/ 0 w 379"/>
                <a:gd name="T13" fmla="*/ 215 h 235"/>
                <a:gd name="T14" fmla="*/ 1 w 379"/>
                <a:gd name="T15" fmla="*/ 226 h 235"/>
                <a:gd name="T16" fmla="*/ 16 w 379"/>
                <a:gd name="T17" fmla="*/ 232 h 235"/>
                <a:gd name="T18" fmla="*/ 107 w 379"/>
                <a:gd name="T19" fmla="*/ 235 h 235"/>
                <a:gd name="T20" fmla="*/ 154 w 379"/>
                <a:gd name="T21" fmla="*/ 221 h 235"/>
                <a:gd name="T22" fmla="*/ 214 w 379"/>
                <a:gd name="T23" fmla="*/ 145 h 235"/>
                <a:gd name="T24" fmla="*/ 289 w 379"/>
                <a:gd name="T25" fmla="*/ 158 h 235"/>
                <a:gd name="T26" fmla="*/ 379 w 379"/>
                <a:gd name="T27" fmla="*/ 33 h 235"/>
                <a:gd name="T28" fmla="*/ 138 w 379"/>
                <a:gd name="T29" fmla="*/ 0 h 235"/>
                <a:gd name="T30" fmla="*/ 104 w 379"/>
                <a:gd name="T31" fmla="*/ 81 h 235"/>
                <a:gd name="T32" fmla="*/ 62 w 379"/>
                <a:gd name="T33" fmla="*/ 36 h 235"/>
                <a:gd name="T34" fmla="*/ 25 w 379"/>
                <a:gd name="T35" fmla="*/ 3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9" h="235">
                  <a:moveTo>
                    <a:pt x="25" y="37"/>
                  </a:moveTo>
                  <a:lnTo>
                    <a:pt x="20" y="79"/>
                  </a:lnTo>
                  <a:lnTo>
                    <a:pt x="24" y="107"/>
                  </a:lnTo>
                  <a:lnTo>
                    <a:pt x="173" y="157"/>
                  </a:lnTo>
                  <a:lnTo>
                    <a:pt x="42" y="209"/>
                  </a:lnTo>
                  <a:lnTo>
                    <a:pt x="27" y="197"/>
                  </a:lnTo>
                  <a:lnTo>
                    <a:pt x="0" y="215"/>
                  </a:lnTo>
                  <a:lnTo>
                    <a:pt x="1" y="226"/>
                  </a:lnTo>
                  <a:lnTo>
                    <a:pt x="16" y="232"/>
                  </a:lnTo>
                  <a:lnTo>
                    <a:pt x="107" y="235"/>
                  </a:lnTo>
                  <a:lnTo>
                    <a:pt x="154" y="221"/>
                  </a:lnTo>
                  <a:lnTo>
                    <a:pt x="214" y="145"/>
                  </a:lnTo>
                  <a:lnTo>
                    <a:pt x="289" y="158"/>
                  </a:lnTo>
                  <a:lnTo>
                    <a:pt x="379" y="33"/>
                  </a:lnTo>
                  <a:lnTo>
                    <a:pt x="138" y="0"/>
                  </a:lnTo>
                  <a:lnTo>
                    <a:pt x="104" y="81"/>
                  </a:lnTo>
                  <a:lnTo>
                    <a:pt x="62" y="36"/>
                  </a:lnTo>
                  <a:lnTo>
                    <a:pt x="2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69"/>
            <p:cNvSpPr>
              <a:spLocks/>
            </p:cNvSpPr>
            <p:nvPr/>
          </p:nvSpPr>
          <p:spPr bwMode="auto">
            <a:xfrm>
              <a:off x="5754688" y="2481263"/>
              <a:ext cx="312738" cy="307975"/>
            </a:xfrm>
            <a:custGeom>
              <a:avLst/>
              <a:gdLst>
                <a:gd name="T0" fmla="*/ 0 w 593"/>
                <a:gd name="T1" fmla="*/ 203 h 583"/>
                <a:gd name="T2" fmla="*/ 28 w 593"/>
                <a:gd name="T3" fmla="*/ 416 h 583"/>
                <a:gd name="T4" fmla="*/ 96 w 593"/>
                <a:gd name="T5" fmla="*/ 430 h 583"/>
                <a:gd name="T6" fmla="*/ 102 w 593"/>
                <a:gd name="T7" fmla="*/ 469 h 583"/>
                <a:gd name="T8" fmla="*/ 53 w 593"/>
                <a:gd name="T9" fmla="*/ 509 h 583"/>
                <a:gd name="T10" fmla="*/ 145 w 593"/>
                <a:gd name="T11" fmla="*/ 583 h 583"/>
                <a:gd name="T12" fmla="*/ 320 w 593"/>
                <a:gd name="T13" fmla="*/ 520 h 583"/>
                <a:gd name="T14" fmla="*/ 334 w 593"/>
                <a:gd name="T15" fmla="*/ 445 h 583"/>
                <a:gd name="T16" fmla="*/ 445 w 593"/>
                <a:gd name="T17" fmla="*/ 375 h 583"/>
                <a:gd name="T18" fmla="*/ 488 w 593"/>
                <a:gd name="T19" fmla="*/ 215 h 583"/>
                <a:gd name="T20" fmla="*/ 519 w 593"/>
                <a:gd name="T21" fmla="*/ 181 h 583"/>
                <a:gd name="T22" fmla="*/ 487 w 593"/>
                <a:gd name="T23" fmla="*/ 124 h 583"/>
                <a:gd name="T24" fmla="*/ 593 w 593"/>
                <a:gd name="T25" fmla="*/ 58 h 583"/>
                <a:gd name="T26" fmla="*/ 580 w 593"/>
                <a:gd name="T27" fmla="*/ 38 h 583"/>
                <a:gd name="T28" fmla="*/ 530 w 593"/>
                <a:gd name="T29" fmla="*/ 41 h 583"/>
                <a:gd name="T30" fmla="*/ 526 w 593"/>
                <a:gd name="T31" fmla="*/ 87 h 583"/>
                <a:gd name="T32" fmla="*/ 459 w 593"/>
                <a:gd name="T33" fmla="*/ 86 h 583"/>
                <a:gd name="T34" fmla="*/ 458 w 593"/>
                <a:gd name="T35" fmla="*/ 25 h 583"/>
                <a:gd name="T36" fmla="*/ 437 w 593"/>
                <a:gd name="T37" fmla="*/ 0 h 583"/>
                <a:gd name="T38" fmla="*/ 401 w 593"/>
                <a:gd name="T39" fmla="*/ 32 h 583"/>
                <a:gd name="T40" fmla="*/ 402 w 593"/>
                <a:gd name="T41" fmla="*/ 63 h 583"/>
                <a:gd name="T42" fmla="*/ 348 w 593"/>
                <a:gd name="T43" fmla="*/ 83 h 583"/>
                <a:gd name="T44" fmla="*/ 247 w 593"/>
                <a:gd name="T45" fmla="*/ 77 h 583"/>
                <a:gd name="T46" fmla="*/ 117 w 593"/>
                <a:gd name="T47" fmla="*/ 213 h 583"/>
                <a:gd name="T48" fmla="*/ 0 w 593"/>
                <a:gd name="T49" fmla="*/ 203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3" h="583">
                  <a:moveTo>
                    <a:pt x="0" y="203"/>
                  </a:moveTo>
                  <a:lnTo>
                    <a:pt x="28" y="416"/>
                  </a:lnTo>
                  <a:lnTo>
                    <a:pt x="96" y="430"/>
                  </a:lnTo>
                  <a:lnTo>
                    <a:pt x="102" y="469"/>
                  </a:lnTo>
                  <a:lnTo>
                    <a:pt x="53" y="509"/>
                  </a:lnTo>
                  <a:lnTo>
                    <a:pt x="145" y="583"/>
                  </a:lnTo>
                  <a:lnTo>
                    <a:pt x="320" y="520"/>
                  </a:lnTo>
                  <a:lnTo>
                    <a:pt x="334" y="445"/>
                  </a:lnTo>
                  <a:lnTo>
                    <a:pt x="445" y="375"/>
                  </a:lnTo>
                  <a:lnTo>
                    <a:pt x="488" y="215"/>
                  </a:lnTo>
                  <a:lnTo>
                    <a:pt x="519" y="181"/>
                  </a:lnTo>
                  <a:lnTo>
                    <a:pt x="487" y="124"/>
                  </a:lnTo>
                  <a:lnTo>
                    <a:pt x="593" y="58"/>
                  </a:lnTo>
                  <a:lnTo>
                    <a:pt x="580" y="38"/>
                  </a:lnTo>
                  <a:lnTo>
                    <a:pt x="530" y="41"/>
                  </a:lnTo>
                  <a:lnTo>
                    <a:pt x="526" y="87"/>
                  </a:lnTo>
                  <a:lnTo>
                    <a:pt x="459" y="86"/>
                  </a:lnTo>
                  <a:lnTo>
                    <a:pt x="458" y="25"/>
                  </a:lnTo>
                  <a:lnTo>
                    <a:pt x="437" y="0"/>
                  </a:lnTo>
                  <a:lnTo>
                    <a:pt x="401" y="32"/>
                  </a:lnTo>
                  <a:lnTo>
                    <a:pt x="402" y="63"/>
                  </a:lnTo>
                  <a:lnTo>
                    <a:pt x="348" y="83"/>
                  </a:lnTo>
                  <a:lnTo>
                    <a:pt x="247" y="77"/>
                  </a:lnTo>
                  <a:lnTo>
                    <a:pt x="117" y="213"/>
                  </a:lnTo>
                  <a:lnTo>
                    <a:pt x="0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270"/>
            <p:cNvSpPr>
              <a:spLocks/>
            </p:cNvSpPr>
            <p:nvPr/>
          </p:nvSpPr>
          <p:spPr bwMode="auto">
            <a:xfrm>
              <a:off x="5822950" y="2501900"/>
              <a:ext cx="347663" cy="431800"/>
            </a:xfrm>
            <a:custGeom>
              <a:avLst/>
              <a:gdLst>
                <a:gd name="T0" fmla="*/ 24 w 657"/>
                <a:gd name="T1" fmla="*/ 554 h 817"/>
                <a:gd name="T2" fmla="*/ 68 w 657"/>
                <a:gd name="T3" fmla="*/ 620 h 817"/>
                <a:gd name="T4" fmla="*/ 64 w 657"/>
                <a:gd name="T5" fmla="*/ 654 h 817"/>
                <a:gd name="T6" fmla="*/ 5 w 657"/>
                <a:gd name="T7" fmla="*/ 678 h 817"/>
                <a:gd name="T8" fmla="*/ 0 w 657"/>
                <a:gd name="T9" fmla="*/ 733 h 817"/>
                <a:gd name="T10" fmla="*/ 68 w 657"/>
                <a:gd name="T11" fmla="*/ 733 h 817"/>
                <a:gd name="T12" fmla="*/ 92 w 657"/>
                <a:gd name="T13" fmla="*/ 714 h 817"/>
                <a:gd name="T14" fmla="*/ 221 w 657"/>
                <a:gd name="T15" fmla="*/ 714 h 817"/>
                <a:gd name="T16" fmla="*/ 337 w 657"/>
                <a:gd name="T17" fmla="*/ 817 h 817"/>
                <a:gd name="T18" fmla="*/ 353 w 657"/>
                <a:gd name="T19" fmla="*/ 767 h 817"/>
                <a:gd name="T20" fmla="*/ 439 w 657"/>
                <a:gd name="T21" fmla="*/ 767 h 817"/>
                <a:gd name="T22" fmla="*/ 441 w 657"/>
                <a:gd name="T23" fmla="*/ 705 h 817"/>
                <a:gd name="T24" fmla="*/ 353 w 657"/>
                <a:gd name="T25" fmla="*/ 620 h 817"/>
                <a:gd name="T26" fmla="*/ 372 w 657"/>
                <a:gd name="T27" fmla="*/ 573 h 817"/>
                <a:gd name="T28" fmla="*/ 462 w 657"/>
                <a:gd name="T29" fmla="*/ 567 h 817"/>
                <a:gd name="T30" fmla="*/ 585 w 657"/>
                <a:gd name="T31" fmla="*/ 310 h 817"/>
                <a:gd name="T32" fmla="*/ 518 w 657"/>
                <a:gd name="T33" fmla="*/ 257 h 817"/>
                <a:gd name="T34" fmla="*/ 493 w 657"/>
                <a:gd name="T35" fmla="*/ 168 h 817"/>
                <a:gd name="T36" fmla="*/ 657 w 657"/>
                <a:gd name="T37" fmla="*/ 153 h 817"/>
                <a:gd name="T38" fmla="*/ 560 w 657"/>
                <a:gd name="T39" fmla="*/ 14 h 817"/>
                <a:gd name="T40" fmla="*/ 508 w 657"/>
                <a:gd name="T41" fmla="*/ 0 h 817"/>
                <a:gd name="T42" fmla="*/ 487 w 657"/>
                <a:gd name="T43" fmla="*/ 26 h 817"/>
                <a:gd name="T44" fmla="*/ 470 w 657"/>
                <a:gd name="T45" fmla="*/ 27 h 817"/>
                <a:gd name="T46" fmla="*/ 373 w 657"/>
                <a:gd name="T47" fmla="*/ 89 h 817"/>
                <a:gd name="T48" fmla="*/ 405 w 657"/>
                <a:gd name="T49" fmla="*/ 143 h 817"/>
                <a:gd name="T50" fmla="*/ 369 w 657"/>
                <a:gd name="T51" fmla="*/ 180 h 817"/>
                <a:gd name="T52" fmla="*/ 325 w 657"/>
                <a:gd name="T53" fmla="*/ 345 h 817"/>
                <a:gd name="T54" fmla="*/ 215 w 657"/>
                <a:gd name="T55" fmla="*/ 416 h 817"/>
                <a:gd name="T56" fmla="*/ 199 w 657"/>
                <a:gd name="T57" fmla="*/ 492 h 817"/>
                <a:gd name="T58" fmla="*/ 24 w 657"/>
                <a:gd name="T59" fmla="*/ 554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7" h="817">
                  <a:moveTo>
                    <a:pt x="24" y="554"/>
                  </a:moveTo>
                  <a:lnTo>
                    <a:pt x="68" y="620"/>
                  </a:lnTo>
                  <a:lnTo>
                    <a:pt x="64" y="654"/>
                  </a:lnTo>
                  <a:lnTo>
                    <a:pt x="5" y="678"/>
                  </a:lnTo>
                  <a:lnTo>
                    <a:pt x="0" y="733"/>
                  </a:lnTo>
                  <a:lnTo>
                    <a:pt x="68" y="733"/>
                  </a:lnTo>
                  <a:lnTo>
                    <a:pt x="92" y="714"/>
                  </a:lnTo>
                  <a:lnTo>
                    <a:pt x="221" y="714"/>
                  </a:lnTo>
                  <a:lnTo>
                    <a:pt x="337" y="817"/>
                  </a:lnTo>
                  <a:lnTo>
                    <a:pt x="353" y="767"/>
                  </a:lnTo>
                  <a:lnTo>
                    <a:pt x="439" y="767"/>
                  </a:lnTo>
                  <a:lnTo>
                    <a:pt x="441" y="705"/>
                  </a:lnTo>
                  <a:lnTo>
                    <a:pt x="353" y="620"/>
                  </a:lnTo>
                  <a:lnTo>
                    <a:pt x="372" y="573"/>
                  </a:lnTo>
                  <a:lnTo>
                    <a:pt x="462" y="567"/>
                  </a:lnTo>
                  <a:lnTo>
                    <a:pt x="585" y="310"/>
                  </a:lnTo>
                  <a:lnTo>
                    <a:pt x="518" y="257"/>
                  </a:lnTo>
                  <a:lnTo>
                    <a:pt x="493" y="168"/>
                  </a:lnTo>
                  <a:lnTo>
                    <a:pt x="657" y="153"/>
                  </a:lnTo>
                  <a:lnTo>
                    <a:pt x="560" y="14"/>
                  </a:lnTo>
                  <a:lnTo>
                    <a:pt x="508" y="0"/>
                  </a:lnTo>
                  <a:lnTo>
                    <a:pt x="487" y="26"/>
                  </a:lnTo>
                  <a:lnTo>
                    <a:pt x="470" y="27"/>
                  </a:lnTo>
                  <a:lnTo>
                    <a:pt x="373" y="89"/>
                  </a:lnTo>
                  <a:lnTo>
                    <a:pt x="405" y="143"/>
                  </a:lnTo>
                  <a:lnTo>
                    <a:pt x="369" y="180"/>
                  </a:lnTo>
                  <a:lnTo>
                    <a:pt x="325" y="345"/>
                  </a:lnTo>
                  <a:lnTo>
                    <a:pt x="215" y="416"/>
                  </a:lnTo>
                  <a:lnTo>
                    <a:pt x="199" y="492"/>
                  </a:lnTo>
                  <a:lnTo>
                    <a:pt x="24" y="5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271"/>
            <p:cNvSpPr>
              <a:spLocks/>
            </p:cNvSpPr>
            <p:nvPr/>
          </p:nvSpPr>
          <p:spPr bwMode="auto">
            <a:xfrm>
              <a:off x="6010275" y="2589213"/>
              <a:ext cx="663575" cy="777875"/>
            </a:xfrm>
            <a:custGeom>
              <a:avLst/>
              <a:gdLst>
                <a:gd name="T0" fmla="*/ 491 w 1253"/>
                <a:gd name="T1" fmla="*/ 1471 h 1471"/>
                <a:gd name="T2" fmla="*/ 569 w 1253"/>
                <a:gd name="T3" fmla="*/ 1432 h 1471"/>
                <a:gd name="T4" fmla="*/ 616 w 1253"/>
                <a:gd name="T5" fmla="*/ 1264 h 1471"/>
                <a:gd name="T6" fmla="*/ 614 w 1253"/>
                <a:gd name="T7" fmla="*/ 1057 h 1471"/>
                <a:gd name="T8" fmla="*/ 881 w 1253"/>
                <a:gd name="T9" fmla="*/ 768 h 1471"/>
                <a:gd name="T10" fmla="*/ 881 w 1253"/>
                <a:gd name="T11" fmla="*/ 700 h 1471"/>
                <a:gd name="T12" fmla="*/ 935 w 1253"/>
                <a:gd name="T13" fmla="*/ 679 h 1471"/>
                <a:gd name="T14" fmla="*/ 933 w 1253"/>
                <a:gd name="T15" fmla="*/ 600 h 1471"/>
                <a:gd name="T16" fmla="*/ 874 w 1253"/>
                <a:gd name="T17" fmla="*/ 485 h 1471"/>
                <a:gd name="T18" fmla="*/ 908 w 1253"/>
                <a:gd name="T19" fmla="*/ 423 h 1471"/>
                <a:gd name="T20" fmla="*/ 982 w 1253"/>
                <a:gd name="T21" fmla="*/ 491 h 1471"/>
                <a:gd name="T22" fmla="*/ 1077 w 1253"/>
                <a:gd name="T23" fmla="*/ 495 h 1471"/>
                <a:gd name="T24" fmla="*/ 1077 w 1253"/>
                <a:gd name="T25" fmla="*/ 534 h 1471"/>
                <a:gd name="T26" fmla="*/ 1048 w 1253"/>
                <a:gd name="T27" fmla="*/ 566 h 1471"/>
                <a:gd name="T28" fmla="*/ 1054 w 1253"/>
                <a:gd name="T29" fmla="*/ 584 h 1471"/>
                <a:gd name="T30" fmla="*/ 1105 w 1253"/>
                <a:gd name="T31" fmla="*/ 586 h 1471"/>
                <a:gd name="T32" fmla="*/ 1116 w 1253"/>
                <a:gd name="T33" fmla="*/ 642 h 1471"/>
                <a:gd name="T34" fmla="*/ 1130 w 1253"/>
                <a:gd name="T35" fmla="*/ 642 h 1471"/>
                <a:gd name="T36" fmla="*/ 1169 w 1253"/>
                <a:gd name="T37" fmla="*/ 574 h 1471"/>
                <a:gd name="T38" fmla="*/ 1188 w 1253"/>
                <a:gd name="T39" fmla="*/ 395 h 1471"/>
                <a:gd name="T40" fmla="*/ 1251 w 1253"/>
                <a:gd name="T41" fmla="*/ 350 h 1471"/>
                <a:gd name="T42" fmla="*/ 1253 w 1253"/>
                <a:gd name="T43" fmla="*/ 288 h 1471"/>
                <a:gd name="T44" fmla="*/ 1228 w 1253"/>
                <a:gd name="T45" fmla="*/ 239 h 1471"/>
                <a:gd name="T46" fmla="*/ 1188 w 1253"/>
                <a:gd name="T47" fmla="*/ 237 h 1471"/>
                <a:gd name="T48" fmla="*/ 1030 w 1253"/>
                <a:gd name="T49" fmla="*/ 341 h 1471"/>
                <a:gd name="T50" fmla="*/ 1040 w 1253"/>
                <a:gd name="T51" fmla="*/ 408 h 1471"/>
                <a:gd name="T52" fmla="*/ 929 w 1253"/>
                <a:gd name="T53" fmla="*/ 408 h 1471"/>
                <a:gd name="T54" fmla="*/ 891 w 1253"/>
                <a:gd name="T55" fmla="*/ 360 h 1471"/>
                <a:gd name="T56" fmla="*/ 869 w 1253"/>
                <a:gd name="T57" fmla="*/ 363 h 1471"/>
                <a:gd name="T58" fmla="*/ 876 w 1253"/>
                <a:gd name="T59" fmla="*/ 429 h 1471"/>
                <a:gd name="T60" fmla="*/ 637 w 1253"/>
                <a:gd name="T61" fmla="*/ 412 h 1471"/>
                <a:gd name="T62" fmla="*/ 489 w 1253"/>
                <a:gd name="T63" fmla="*/ 346 h 1471"/>
                <a:gd name="T64" fmla="*/ 481 w 1253"/>
                <a:gd name="T65" fmla="*/ 265 h 1471"/>
                <a:gd name="T66" fmla="*/ 382 w 1253"/>
                <a:gd name="T67" fmla="*/ 204 h 1471"/>
                <a:gd name="T68" fmla="*/ 381 w 1253"/>
                <a:gd name="T69" fmla="*/ 77 h 1471"/>
                <a:gd name="T70" fmla="*/ 313 w 1253"/>
                <a:gd name="T71" fmla="*/ 0 h 1471"/>
                <a:gd name="T72" fmla="*/ 157 w 1253"/>
                <a:gd name="T73" fmla="*/ 15 h 1471"/>
                <a:gd name="T74" fmla="*/ 174 w 1253"/>
                <a:gd name="T75" fmla="*/ 82 h 1471"/>
                <a:gd name="T76" fmla="*/ 250 w 1253"/>
                <a:gd name="T77" fmla="*/ 144 h 1471"/>
                <a:gd name="T78" fmla="*/ 118 w 1253"/>
                <a:gd name="T79" fmla="*/ 414 h 1471"/>
                <a:gd name="T80" fmla="*/ 30 w 1253"/>
                <a:gd name="T81" fmla="*/ 421 h 1471"/>
                <a:gd name="T82" fmla="*/ 16 w 1253"/>
                <a:gd name="T83" fmla="*/ 454 h 1471"/>
                <a:gd name="T84" fmla="*/ 102 w 1253"/>
                <a:gd name="T85" fmla="*/ 534 h 1471"/>
                <a:gd name="T86" fmla="*/ 98 w 1253"/>
                <a:gd name="T87" fmla="*/ 616 h 1471"/>
                <a:gd name="T88" fmla="*/ 10 w 1253"/>
                <a:gd name="T89" fmla="*/ 614 h 1471"/>
                <a:gd name="T90" fmla="*/ 0 w 1253"/>
                <a:gd name="T91" fmla="*/ 655 h 1471"/>
                <a:gd name="T92" fmla="*/ 74 w 1253"/>
                <a:gd name="T93" fmla="*/ 652 h 1471"/>
                <a:gd name="T94" fmla="*/ 76 w 1253"/>
                <a:gd name="T95" fmla="*/ 683 h 1471"/>
                <a:gd name="T96" fmla="*/ 23 w 1253"/>
                <a:gd name="T97" fmla="*/ 712 h 1471"/>
                <a:gd name="T98" fmla="*/ 56 w 1253"/>
                <a:gd name="T99" fmla="*/ 775 h 1471"/>
                <a:gd name="T100" fmla="*/ 122 w 1253"/>
                <a:gd name="T101" fmla="*/ 797 h 1471"/>
                <a:gd name="T102" fmla="*/ 163 w 1253"/>
                <a:gd name="T103" fmla="*/ 767 h 1471"/>
                <a:gd name="T104" fmla="*/ 181 w 1253"/>
                <a:gd name="T105" fmla="*/ 714 h 1471"/>
                <a:gd name="T106" fmla="*/ 205 w 1253"/>
                <a:gd name="T107" fmla="*/ 703 h 1471"/>
                <a:gd name="T108" fmla="*/ 232 w 1253"/>
                <a:gd name="T109" fmla="*/ 731 h 1471"/>
                <a:gd name="T110" fmla="*/ 224 w 1253"/>
                <a:gd name="T111" fmla="*/ 799 h 1471"/>
                <a:gd name="T112" fmla="*/ 205 w 1253"/>
                <a:gd name="T113" fmla="*/ 831 h 1471"/>
                <a:gd name="T114" fmla="*/ 210 w 1253"/>
                <a:gd name="T115" fmla="*/ 886 h 1471"/>
                <a:gd name="T116" fmla="*/ 491 w 1253"/>
                <a:gd name="T117" fmla="*/ 1471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53" h="1471">
                  <a:moveTo>
                    <a:pt x="491" y="1471"/>
                  </a:moveTo>
                  <a:lnTo>
                    <a:pt x="569" y="1432"/>
                  </a:lnTo>
                  <a:lnTo>
                    <a:pt x="616" y="1264"/>
                  </a:lnTo>
                  <a:lnTo>
                    <a:pt x="614" y="1057"/>
                  </a:lnTo>
                  <a:lnTo>
                    <a:pt x="881" y="768"/>
                  </a:lnTo>
                  <a:lnTo>
                    <a:pt x="881" y="700"/>
                  </a:lnTo>
                  <a:lnTo>
                    <a:pt x="935" y="679"/>
                  </a:lnTo>
                  <a:lnTo>
                    <a:pt x="933" y="600"/>
                  </a:lnTo>
                  <a:lnTo>
                    <a:pt x="874" y="485"/>
                  </a:lnTo>
                  <a:lnTo>
                    <a:pt x="908" y="423"/>
                  </a:lnTo>
                  <a:lnTo>
                    <a:pt x="982" y="491"/>
                  </a:lnTo>
                  <a:lnTo>
                    <a:pt x="1077" y="495"/>
                  </a:lnTo>
                  <a:lnTo>
                    <a:pt x="1077" y="534"/>
                  </a:lnTo>
                  <a:lnTo>
                    <a:pt x="1048" y="566"/>
                  </a:lnTo>
                  <a:lnTo>
                    <a:pt x="1054" y="584"/>
                  </a:lnTo>
                  <a:lnTo>
                    <a:pt x="1105" y="586"/>
                  </a:lnTo>
                  <a:lnTo>
                    <a:pt x="1116" y="642"/>
                  </a:lnTo>
                  <a:lnTo>
                    <a:pt x="1130" y="642"/>
                  </a:lnTo>
                  <a:lnTo>
                    <a:pt x="1169" y="574"/>
                  </a:lnTo>
                  <a:lnTo>
                    <a:pt x="1188" y="395"/>
                  </a:lnTo>
                  <a:lnTo>
                    <a:pt x="1251" y="350"/>
                  </a:lnTo>
                  <a:lnTo>
                    <a:pt x="1253" y="288"/>
                  </a:lnTo>
                  <a:lnTo>
                    <a:pt x="1228" y="239"/>
                  </a:lnTo>
                  <a:lnTo>
                    <a:pt x="1188" y="237"/>
                  </a:lnTo>
                  <a:lnTo>
                    <a:pt x="1030" y="341"/>
                  </a:lnTo>
                  <a:lnTo>
                    <a:pt x="1040" y="408"/>
                  </a:lnTo>
                  <a:lnTo>
                    <a:pt x="929" y="408"/>
                  </a:lnTo>
                  <a:lnTo>
                    <a:pt x="891" y="360"/>
                  </a:lnTo>
                  <a:lnTo>
                    <a:pt x="869" y="363"/>
                  </a:lnTo>
                  <a:lnTo>
                    <a:pt x="876" y="429"/>
                  </a:lnTo>
                  <a:lnTo>
                    <a:pt x="637" y="412"/>
                  </a:lnTo>
                  <a:lnTo>
                    <a:pt x="489" y="346"/>
                  </a:lnTo>
                  <a:lnTo>
                    <a:pt x="481" y="265"/>
                  </a:lnTo>
                  <a:lnTo>
                    <a:pt x="382" y="204"/>
                  </a:lnTo>
                  <a:lnTo>
                    <a:pt x="381" y="77"/>
                  </a:lnTo>
                  <a:lnTo>
                    <a:pt x="313" y="0"/>
                  </a:lnTo>
                  <a:lnTo>
                    <a:pt x="157" y="15"/>
                  </a:lnTo>
                  <a:lnTo>
                    <a:pt x="174" y="82"/>
                  </a:lnTo>
                  <a:lnTo>
                    <a:pt x="250" y="144"/>
                  </a:lnTo>
                  <a:lnTo>
                    <a:pt x="118" y="414"/>
                  </a:lnTo>
                  <a:lnTo>
                    <a:pt x="30" y="421"/>
                  </a:lnTo>
                  <a:lnTo>
                    <a:pt x="16" y="454"/>
                  </a:lnTo>
                  <a:lnTo>
                    <a:pt x="102" y="534"/>
                  </a:lnTo>
                  <a:lnTo>
                    <a:pt x="98" y="616"/>
                  </a:lnTo>
                  <a:lnTo>
                    <a:pt x="10" y="614"/>
                  </a:lnTo>
                  <a:lnTo>
                    <a:pt x="0" y="655"/>
                  </a:lnTo>
                  <a:lnTo>
                    <a:pt x="74" y="652"/>
                  </a:lnTo>
                  <a:lnTo>
                    <a:pt x="76" y="683"/>
                  </a:lnTo>
                  <a:lnTo>
                    <a:pt x="23" y="712"/>
                  </a:lnTo>
                  <a:lnTo>
                    <a:pt x="56" y="775"/>
                  </a:lnTo>
                  <a:lnTo>
                    <a:pt x="122" y="797"/>
                  </a:lnTo>
                  <a:lnTo>
                    <a:pt x="163" y="767"/>
                  </a:lnTo>
                  <a:lnTo>
                    <a:pt x="181" y="714"/>
                  </a:lnTo>
                  <a:lnTo>
                    <a:pt x="205" y="703"/>
                  </a:lnTo>
                  <a:lnTo>
                    <a:pt x="232" y="731"/>
                  </a:lnTo>
                  <a:lnTo>
                    <a:pt x="224" y="799"/>
                  </a:lnTo>
                  <a:lnTo>
                    <a:pt x="205" y="831"/>
                  </a:lnTo>
                  <a:lnTo>
                    <a:pt x="210" y="886"/>
                  </a:lnTo>
                  <a:lnTo>
                    <a:pt x="491" y="14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272"/>
            <p:cNvSpPr>
              <a:spLocks/>
            </p:cNvSpPr>
            <p:nvPr/>
          </p:nvSpPr>
          <p:spPr bwMode="auto">
            <a:xfrm>
              <a:off x="6272213" y="2720975"/>
              <a:ext cx="193675" cy="88900"/>
            </a:xfrm>
            <a:custGeom>
              <a:avLst/>
              <a:gdLst>
                <a:gd name="T0" fmla="*/ 0 w 368"/>
                <a:gd name="T1" fmla="*/ 16 h 168"/>
                <a:gd name="T2" fmla="*/ 8 w 368"/>
                <a:gd name="T3" fmla="*/ 89 h 168"/>
                <a:gd name="T4" fmla="*/ 146 w 368"/>
                <a:gd name="T5" fmla="*/ 152 h 168"/>
                <a:gd name="T6" fmla="*/ 368 w 368"/>
                <a:gd name="T7" fmla="*/ 168 h 168"/>
                <a:gd name="T8" fmla="*/ 360 w 368"/>
                <a:gd name="T9" fmla="*/ 114 h 168"/>
                <a:gd name="T10" fmla="*/ 212 w 368"/>
                <a:gd name="T11" fmla="*/ 74 h 168"/>
                <a:gd name="T12" fmla="*/ 86 w 368"/>
                <a:gd name="T13" fmla="*/ 0 h 168"/>
                <a:gd name="T14" fmla="*/ 0 w 368"/>
                <a:gd name="T15" fmla="*/ 1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8" h="168">
                  <a:moveTo>
                    <a:pt x="0" y="16"/>
                  </a:moveTo>
                  <a:lnTo>
                    <a:pt x="8" y="89"/>
                  </a:lnTo>
                  <a:lnTo>
                    <a:pt x="146" y="152"/>
                  </a:lnTo>
                  <a:lnTo>
                    <a:pt x="368" y="168"/>
                  </a:lnTo>
                  <a:lnTo>
                    <a:pt x="360" y="114"/>
                  </a:lnTo>
                  <a:lnTo>
                    <a:pt x="212" y="74"/>
                  </a:lnTo>
                  <a:lnTo>
                    <a:pt x="86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273"/>
            <p:cNvSpPr>
              <a:spLocks/>
            </p:cNvSpPr>
            <p:nvPr/>
          </p:nvSpPr>
          <p:spPr bwMode="auto">
            <a:xfrm>
              <a:off x="6491288" y="2771775"/>
              <a:ext cx="61913" cy="26988"/>
            </a:xfrm>
            <a:custGeom>
              <a:avLst/>
              <a:gdLst>
                <a:gd name="T0" fmla="*/ 0 w 116"/>
                <a:gd name="T1" fmla="*/ 12 h 50"/>
                <a:gd name="T2" fmla="*/ 26 w 116"/>
                <a:gd name="T3" fmla="*/ 49 h 50"/>
                <a:gd name="T4" fmla="*/ 116 w 116"/>
                <a:gd name="T5" fmla="*/ 50 h 50"/>
                <a:gd name="T6" fmla="*/ 107 w 116"/>
                <a:gd name="T7" fmla="*/ 0 h 50"/>
                <a:gd name="T8" fmla="*/ 0 w 116"/>
                <a:gd name="T9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50">
                  <a:moveTo>
                    <a:pt x="0" y="12"/>
                  </a:moveTo>
                  <a:lnTo>
                    <a:pt x="26" y="49"/>
                  </a:lnTo>
                  <a:lnTo>
                    <a:pt x="116" y="50"/>
                  </a:lnTo>
                  <a:lnTo>
                    <a:pt x="107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274"/>
            <p:cNvSpPr>
              <a:spLocks/>
            </p:cNvSpPr>
            <p:nvPr/>
          </p:nvSpPr>
          <p:spPr bwMode="auto">
            <a:xfrm>
              <a:off x="6481763" y="2824163"/>
              <a:ext cx="123825" cy="155575"/>
            </a:xfrm>
            <a:custGeom>
              <a:avLst/>
              <a:gdLst>
                <a:gd name="T0" fmla="*/ 22 w 234"/>
                <a:gd name="T1" fmla="*/ 0 h 294"/>
                <a:gd name="T2" fmla="*/ 0 w 234"/>
                <a:gd name="T3" fmla="*/ 40 h 294"/>
                <a:gd name="T4" fmla="*/ 58 w 234"/>
                <a:gd name="T5" fmla="*/ 151 h 294"/>
                <a:gd name="T6" fmla="*/ 60 w 234"/>
                <a:gd name="T7" fmla="*/ 237 h 294"/>
                <a:gd name="T8" fmla="*/ 70 w 234"/>
                <a:gd name="T9" fmla="*/ 260 h 294"/>
                <a:gd name="T10" fmla="*/ 138 w 234"/>
                <a:gd name="T11" fmla="*/ 261 h 294"/>
                <a:gd name="T12" fmla="*/ 177 w 234"/>
                <a:gd name="T13" fmla="*/ 225 h 294"/>
                <a:gd name="T14" fmla="*/ 205 w 234"/>
                <a:gd name="T15" fmla="*/ 241 h 294"/>
                <a:gd name="T16" fmla="*/ 211 w 234"/>
                <a:gd name="T17" fmla="*/ 294 h 294"/>
                <a:gd name="T18" fmla="*/ 233 w 234"/>
                <a:gd name="T19" fmla="*/ 280 h 294"/>
                <a:gd name="T20" fmla="*/ 234 w 234"/>
                <a:gd name="T21" fmla="*/ 213 h 294"/>
                <a:gd name="T22" fmla="*/ 216 w 234"/>
                <a:gd name="T23" fmla="*/ 211 h 294"/>
                <a:gd name="T24" fmla="*/ 204 w 234"/>
                <a:gd name="T25" fmla="*/ 154 h 294"/>
                <a:gd name="T26" fmla="*/ 156 w 234"/>
                <a:gd name="T27" fmla="*/ 152 h 294"/>
                <a:gd name="T28" fmla="*/ 145 w 234"/>
                <a:gd name="T29" fmla="*/ 120 h 294"/>
                <a:gd name="T30" fmla="*/ 173 w 234"/>
                <a:gd name="T31" fmla="*/ 82 h 294"/>
                <a:gd name="T32" fmla="*/ 174 w 234"/>
                <a:gd name="T33" fmla="*/ 62 h 294"/>
                <a:gd name="T34" fmla="*/ 89 w 234"/>
                <a:gd name="T35" fmla="*/ 62 h 294"/>
                <a:gd name="T36" fmla="*/ 22 w 234"/>
                <a:gd name="T37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4" h="294">
                  <a:moveTo>
                    <a:pt x="22" y="0"/>
                  </a:moveTo>
                  <a:lnTo>
                    <a:pt x="0" y="40"/>
                  </a:lnTo>
                  <a:lnTo>
                    <a:pt x="58" y="151"/>
                  </a:lnTo>
                  <a:lnTo>
                    <a:pt x="60" y="237"/>
                  </a:lnTo>
                  <a:lnTo>
                    <a:pt x="70" y="260"/>
                  </a:lnTo>
                  <a:lnTo>
                    <a:pt x="138" y="261"/>
                  </a:lnTo>
                  <a:lnTo>
                    <a:pt x="177" y="225"/>
                  </a:lnTo>
                  <a:lnTo>
                    <a:pt x="205" y="241"/>
                  </a:lnTo>
                  <a:lnTo>
                    <a:pt x="211" y="294"/>
                  </a:lnTo>
                  <a:lnTo>
                    <a:pt x="233" y="280"/>
                  </a:lnTo>
                  <a:lnTo>
                    <a:pt x="234" y="213"/>
                  </a:lnTo>
                  <a:lnTo>
                    <a:pt x="216" y="211"/>
                  </a:lnTo>
                  <a:lnTo>
                    <a:pt x="204" y="154"/>
                  </a:lnTo>
                  <a:lnTo>
                    <a:pt x="156" y="152"/>
                  </a:lnTo>
                  <a:lnTo>
                    <a:pt x="145" y="120"/>
                  </a:lnTo>
                  <a:lnTo>
                    <a:pt x="173" y="82"/>
                  </a:lnTo>
                  <a:lnTo>
                    <a:pt x="174" y="62"/>
                  </a:lnTo>
                  <a:lnTo>
                    <a:pt x="89" y="62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275"/>
            <p:cNvSpPr>
              <a:spLocks/>
            </p:cNvSpPr>
            <p:nvPr/>
          </p:nvSpPr>
          <p:spPr bwMode="auto">
            <a:xfrm>
              <a:off x="6596063" y="2744788"/>
              <a:ext cx="223838" cy="538163"/>
            </a:xfrm>
            <a:custGeom>
              <a:avLst/>
              <a:gdLst>
                <a:gd name="T0" fmla="*/ 385 w 424"/>
                <a:gd name="T1" fmla="*/ 1015 h 1015"/>
                <a:gd name="T2" fmla="*/ 337 w 424"/>
                <a:gd name="T3" fmla="*/ 939 h 1015"/>
                <a:gd name="T4" fmla="*/ 371 w 424"/>
                <a:gd name="T5" fmla="*/ 891 h 1015"/>
                <a:gd name="T6" fmla="*/ 339 w 424"/>
                <a:gd name="T7" fmla="*/ 832 h 1015"/>
                <a:gd name="T8" fmla="*/ 308 w 424"/>
                <a:gd name="T9" fmla="*/ 826 h 1015"/>
                <a:gd name="T10" fmla="*/ 302 w 424"/>
                <a:gd name="T11" fmla="*/ 725 h 1015"/>
                <a:gd name="T12" fmla="*/ 257 w 424"/>
                <a:gd name="T13" fmla="*/ 636 h 1015"/>
                <a:gd name="T14" fmla="*/ 243 w 424"/>
                <a:gd name="T15" fmla="*/ 657 h 1015"/>
                <a:gd name="T16" fmla="*/ 213 w 424"/>
                <a:gd name="T17" fmla="*/ 710 h 1015"/>
                <a:gd name="T18" fmla="*/ 174 w 424"/>
                <a:gd name="T19" fmla="*/ 715 h 1015"/>
                <a:gd name="T20" fmla="*/ 155 w 424"/>
                <a:gd name="T21" fmla="*/ 691 h 1015"/>
                <a:gd name="T22" fmla="*/ 146 w 424"/>
                <a:gd name="T23" fmla="*/ 623 h 1015"/>
                <a:gd name="T24" fmla="*/ 117 w 424"/>
                <a:gd name="T25" fmla="*/ 569 h 1015"/>
                <a:gd name="T26" fmla="*/ 0 w 424"/>
                <a:gd name="T27" fmla="*/ 458 h 1015"/>
                <a:gd name="T28" fmla="*/ 28 w 424"/>
                <a:gd name="T29" fmla="*/ 439 h 1015"/>
                <a:gd name="T30" fmla="*/ 33 w 424"/>
                <a:gd name="T31" fmla="*/ 359 h 1015"/>
                <a:gd name="T32" fmla="*/ 77 w 424"/>
                <a:gd name="T33" fmla="*/ 287 h 1015"/>
                <a:gd name="T34" fmla="*/ 95 w 424"/>
                <a:gd name="T35" fmla="*/ 108 h 1015"/>
                <a:gd name="T36" fmla="*/ 157 w 424"/>
                <a:gd name="T37" fmla="*/ 65 h 1015"/>
                <a:gd name="T38" fmla="*/ 159 w 424"/>
                <a:gd name="T39" fmla="*/ 0 h 1015"/>
                <a:gd name="T40" fmla="*/ 197 w 424"/>
                <a:gd name="T41" fmla="*/ 13 h 1015"/>
                <a:gd name="T42" fmla="*/ 255 w 424"/>
                <a:gd name="T43" fmla="*/ 98 h 1015"/>
                <a:gd name="T44" fmla="*/ 211 w 424"/>
                <a:gd name="T45" fmla="*/ 191 h 1015"/>
                <a:gd name="T46" fmla="*/ 240 w 424"/>
                <a:gd name="T47" fmla="*/ 264 h 1015"/>
                <a:gd name="T48" fmla="*/ 314 w 424"/>
                <a:gd name="T49" fmla="*/ 293 h 1015"/>
                <a:gd name="T50" fmla="*/ 327 w 424"/>
                <a:gd name="T51" fmla="*/ 372 h 1015"/>
                <a:gd name="T52" fmla="*/ 424 w 424"/>
                <a:gd name="T53" fmla="*/ 387 h 1015"/>
                <a:gd name="T54" fmla="*/ 397 w 424"/>
                <a:gd name="T55" fmla="*/ 434 h 1015"/>
                <a:gd name="T56" fmla="*/ 274 w 424"/>
                <a:gd name="T57" fmla="*/ 481 h 1015"/>
                <a:gd name="T58" fmla="*/ 261 w 424"/>
                <a:gd name="T59" fmla="*/ 561 h 1015"/>
                <a:gd name="T60" fmla="*/ 351 w 424"/>
                <a:gd name="T61" fmla="*/ 676 h 1015"/>
                <a:gd name="T62" fmla="*/ 355 w 424"/>
                <a:gd name="T63" fmla="*/ 738 h 1015"/>
                <a:gd name="T64" fmla="*/ 334 w 424"/>
                <a:gd name="T65" fmla="*/ 760 h 1015"/>
                <a:gd name="T66" fmla="*/ 336 w 424"/>
                <a:gd name="T67" fmla="*/ 779 h 1015"/>
                <a:gd name="T68" fmla="*/ 403 w 424"/>
                <a:gd name="T69" fmla="*/ 877 h 1015"/>
                <a:gd name="T70" fmla="*/ 405 w 424"/>
                <a:gd name="T71" fmla="*/ 980 h 1015"/>
                <a:gd name="T72" fmla="*/ 385 w 424"/>
                <a:gd name="T73" fmla="*/ 1015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4" h="1015">
                  <a:moveTo>
                    <a:pt x="385" y="1015"/>
                  </a:moveTo>
                  <a:lnTo>
                    <a:pt x="337" y="939"/>
                  </a:lnTo>
                  <a:lnTo>
                    <a:pt x="371" y="891"/>
                  </a:lnTo>
                  <a:lnTo>
                    <a:pt x="339" y="832"/>
                  </a:lnTo>
                  <a:lnTo>
                    <a:pt x="308" y="826"/>
                  </a:lnTo>
                  <a:lnTo>
                    <a:pt x="302" y="725"/>
                  </a:lnTo>
                  <a:lnTo>
                    <a:pt x="257" y="636"/>
                  </a:lnTo>
                  <a:lnTo>
                    <a:pt x="243" y="657"/>
                  </a:lnTo>
                  <a:lnTo>
                    <a:pt x="213" y="710"/>
                  </a:lnTo>
                  <a:lnTo>
                    <a:pt x="174" y="715"/>
                  </a:lnTo>
                  <a:lnTo>
                    <a:pt x="155" y="691"/>
                  </a:lnTo>
                  <a:lnTo>
                    <a:pt x="146" y="623"/>
                  </a:lnTo>
                  <a:lnTo>
                    <a:pt x="117" y="569"/>
                  </a:lnTo>
                  <a:lnTo>
                    <a:pt x="0" y="458"/>
                  </a:lnTo>
                  <a:lnTo>
                    <a:pt x="28" y="439"/>
                  </a:lnTo>
                  <a:lnTo>
                    <a:pt x="33" y="359"/>
                  </a:lnTo>
                  <a:lnTo>
                    <a:pt x="77" y="287"/>
                  </a:lnTo>
                  <a:lnTo>
                    <a:pt x="95" y="108"/>
                  </a:lnTo>
                  <a:lnTo>
                    <a:pt x="157" y="65"/>
                  </a:lnTo>
                  <a:lnTo>
                    <a:pt x="159" y="0"/>
                  </a:lnTo>
                  <a:lnTo>
                    <a:pt x="197" y="13"/>
                  </a:lnTo>
                  <a:lnTo>
                    <a:pt x="255" y="98"/>
                  </a:lnTo>
                  <a:lnTo>
                    <a:pt x="211" y="191"/>
                  </a:lnTo>
                  <a:lnTo>
                    <a:pt x="240" y="264"/>
                  </a:lnTo>
                  <a:lnTo>
                    <a:pt x="314" y="293"/>
                  </a:lnTo>
                  <a:lnTo>
                    <a:pt x="327" y="372"/>
                  </a:lnTo>
                  <a:lnTo>
                    <a:pt x="424" y="387"/>
                  </a:lnTo>
                  <a:lnTo>
                    <a:pt x="397" y="434"/>
                  </a:lnTo>
                  <a:lnTo>
                    <a:pt x="274" y="481"/>
                  </a:lnTo>
                  <a:lnTo>
                    <a:pt x="261" y="561"/>
                  </a:lnTo>
                  <a:lnTo>
                    <a:pt x="351" y="676"/>
                  </a:lnTo>
                  <a:lnTo>
                    <a:pt x="355" y="738"/>
                  </a:lnTo>
                  <a:lnTo>
                    <a:pt x="334" y="760"/>
                  </a:lnTo>
                  <a:lnTo>
                    <a:pt x="336" y="779"/>
                  </a:lnTo>
                  <a:lnTo>
                    <a:pt x="403" y="877"/>
                  </a:lnTo>
                  <a:lnTo>
                    <a:pt x="405" y="980"/>
                  </a:lnTo>
                  <a:lnTo>
                    <a:pt x="385" y="10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276"/>
            <p:cNvSpPr>
              <a:spLocks/>
            </p:cNvSpPr>
            <p:nvPr/>
          </p:nvSpPr>
          <p:spPr bwMode="auto">
            <a:xfrm>
              <a:off x="6742113" y="2981325"/>
              <a:ext cx="214313" cy="436563"/>
            </a:xfrm>
            <a:custGeom>
              <a:avLst/>
              <a:gdLst>
                <a:gd name="T0" fmla="*/ 119 w 404"/>
                <a:gd name="T1" fmla="*/ 0 h 824"/>
                <a:gd name="T2" fmla="*/ 175 w 404"/>
                <a:gd name="T3" fmla="*/ 71 h 824"/>
                <a:gd name="T4" fmla="*/ 175 w 404"/>
                <a:gd name="T5" fmla="*/ 158 h 824"/>
                <a:gd name="T6" fmla="*/ 194 w 404"/>
                <a:gd name="T7" fmla="*/ 167 h 824"/>
                <a:gd name="T8" fmla="*/ 282 w 404"/>
                <a:gd name="T9" fmla="*/ 126 h 824"/>
                <a:gd name="T10" fmla="*/ 299 w 404"/>
                <a:gd name="T11" fmla="*/ 131 h 824"/>
                <a:gd name="T12" fmla="*/ 404 w 404"/>
                <a:gd name="T13" fmla="*/ 253 h 824"/>
                <a:gd name="T14" fmla="*/ 401 w 404"/>
                <a:gd name="T15" fmla="*/ 336 h 824"/>
                <a:gd name="T16" fmla="*/ 366 w 404"/>
                <a:gd name="T17" fmla="*/ 330 h 824"/>
                <a:gd name="T18" fmla="*/ 336 w 404"/>
                <a:gd name="T19" fmla="*/ 311 h 824"/>
                <a:gd name="T20" fmla="*/ 313 w 404"/>
                <a:gd name="T21" fmla="*/ 313 h 824"/>
                <a:gd name="T22" fmla="*/ 272 w 404"/>
                <a:gd name="T23" fmla="*/ 381 h 824"/>
                <a:gd name="T24" fmla="*/ 280 w 404"/>
                <a:gd name="T25" fmla="*/ 417 h 824"/>
                <a:gd name="T26" fmla="*/ 313 w 404"/>
                <a:gd name="T27" fmla="*/ 434 h 824"/>
                <a:gd name="T28" fmla="*/ 311 w 404"/>
                <a:gd name="T29" fmla="*/ 475 h 824"/>
                <a:gd name="T30" fmla="*/ 288 w 404"/>
                <a:gd name="T31" fmla="*/ 486 h 824"/>
                <a:gd name="T32" fmla="*/ 209 w 404"/>
                <a:gd name="T33" fmla="*/ 432 h 824"/>
                <a:gd name="T34" fmla="*/ 209 w 404"/>
                <a:gd name="T35" fmla="*/ 384 h 824"/>
                <a:gd name="T36" fmla="*/ 177 w 404"/>
                <a:gd name="T37" fmla="*/ 382 h 824"/>
                <a:gd name="T38" fmla="*/ 163 w 404"/>
                <a:gd name="T39" fmla="*/ 403 h 824"/>
                <a:gd name="T40" fmla="*/ 156 w 404"/>
                <a:gd name="T41" fmla="*/ 619 h 824"/>
                <a:gd name="T42" fmla="*/ 207 w 404"/>
                <a:gd name="T43" fmla="*/ 713 h 824"/>
                <a:gd name="T44" fmla="*/ 297 w 404"/>
                <a:gd name="T45" fmla="*/ 799 h 824"/>
                <a:gd name="T46" fmla="*/ 293 w 404"/>
                <a:gd name="T47" fmla="*/ 824 h 824"/>
                <a:gd name="T48" fmla="*/ 246 w 404"/>
                <a:gd name="T49" fmla="*/ 822 h 824"/>
                <a:gd name="T50" fmla="*/ 202 w 404"/>
                <a:gd name="T51" fmla="*/ 757 h 824"/>
                <a:gd name="T52" fmla="*/ 155 w 404"/>
                <a:gd name="T53" fmla="*/ 757 h 824"/>
                <a:gd name="T54" fmla="*/ 98 w 404"/>
                <a:gd name="T55" fmla="*/ 711 h 824"/>
                <a:gd name="T56" fmla="*/ 81 w 404"/>
                <a:gd name="T57" fmla="*/ 662 h 824"/>
                <a:gd name="T58" fmla="*/ 106 w 404"/>
                <a:gd name="T59" fmla="*/ 621 h 824"/>
                <a:gd name="T60" fmla="*/ 114 w 404"/>
                <a:gd name="T61" fmla="*/ 585 h 824"/>
                <a:gd name="T62" fmla="*/ 141 w 404"/>
                <a:gd name="T63" fmla="*/ 537 h 824"/>
                <a:gd name="T64" fmla="*/ 140 w 404"/>
                <a:gd name="T65" fmla="*/ 426 h 824"/>
                <a:gd name="T66" fmla="*/ 74 w 404"/>
                <a:gd name="T67" fmla="*/ 331 h 824"/>
                <a:gd name="T68" fmla="*/ 71 w 404"/>
                <a:gd name="T69" fmla="*/ 320 h 824"/>
                <a:gd name="T70" fmla="*/ 92 w 404"/>
                <a:gd name="T71" fmla="*/ 297 h 824"/>
                <a:gd name="T72" fmla="*/ 87 w 404"/>
                <a:gd name="T73" fmla="*/ 222 h 824"/>
                <a:gd name="T74" fmla="*/ 0 w 404"/>
                <a:gd name="T75" fmla="*/ 111 h 824"/>
                <a:gd name="T76" fmla="*/ 10 w 404"/>
                <a:gd name="T77" fmla="*/ 46 h 824"/>
                <a:gd name="T78" fmla="*/ 119 w 404"/>
                <a:gd name="T79" fmla="*/ 0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4" h="824">
                  <a:moveTo>
                    <a:pt x="119" y="0"/>
                  </a:moveTo>
                  <a:lnTo>
                    <a:pt x="175" y="71"/>
                  </a:lnTo>
                  <a:lnTo>
                    <a:pt x="175" y="158"/>
                  </a:lnTo>
                  <a:lnTo>
                    <a:pt x="194" y="167"/>
                  </a:lnTo>
                  <a:lnTo>
                    <a:pt x="282" y="126"/>
                  </a:lnTo>
                  <a:lnTo>
                    <a:pt x="299" y="131"/>
                  </a:lnTo>
                  <a:lnTo>
                    <a:pt x="404" y="253"/>
                  </a:lnTo>
                  <a:lnTo>
                    <a:pt x="401" y="336"/>
                  </a:lnTo>
                  <a:lnTo>
                    <a:pt x="366" y="330"/>
                  </a:lnTo>
                  <a:lnTo>
                    <a:pt x="336" y="311"/>
                  </a:lnTo>
                  <a:lnTo>
                    <a:pt x="313" y="313"/>
                  </a:lnTo>
                  <a:lnTo>
                    <a:pt x="272" y="381"/>
                  </a:lnTo>
                  <a:lnTo>
                    <a:pt x="280" y="417"/>
                  </a:lnTo>
                  <a:lnTo>
                    <a:pt x="313" y="434"/>
                  </a:lnTo>
                  <a:lnTo>
                    <a:pt x="311" y="475"/>
                  </a:lnTo>
                  <a:lnTo>
                    <a:pt x="288" y="486"/>
                  </a:lnTo>
                  <a:lnTo>
                    <a:pt x="209" y="432"/>
                  </a:lnTo>
                  <a:lnTo>
                    <a:pt x="209" y="384"/>
                  </a:lnTo>
                  <a:lnTo>
                    <a:pt x="177" y="382"/>
                  </a:lnTo>
                  <a:lnTo>
                    <a:pt x="163" y="403"/>
                  </a:lnTo>
                  <a:lnTo>
                    <a:pt x="156" y="619"/>
                  </a:lnTo>
                  <a:lnTo>
                    <a:pt x="207" y="713"/>
                  </a:lnTo>
                  <a:lnTo>
                    <a:pt x="297" y="799"/>
                  </a:lnTo>
                  <a:lnTo>
                    <a:pt x="293" y="824"/>
                  </a:lnTo>
                  <a:lnTo>
                    <a:pt x="246" y="822"/>
                  </a:lnTo>
                  <a:lnTo>
                    <a:pt x="202" y="757"/>
                  </a:lnTo>
                  <a:lnTo>
                    <a:pt x="155" y="757"/>
                  </a:lnTo>
                  <a:lnTo>
                    <a:pt x="98" y="711"/>
                  </a:lnTo>
                  <a:lnTo>
                    <a:pt x="81" y="662"/>
                  </a:lnTo>
                  <a:lnTo>
                    <a:pt x="106" y="621"/>
                  </a:lnTo>
                  <a:lnTo>
                    <a:pt x="114" y="585"/>
                  </a:lnTo>
                  <a:lnTo>
                    <a:pt x="141" y="537"/>
                  </a:lnTo>
                  <a:lnTo>
                    <a:pt x="140" y="426"/>
                  </a:lnTo>
                  <a:lnTo>
                    <a:pt x="74" y="331"/>
                  </a:lnTo>
                  <a:lnTo>
                    <a:pt x="71" y="320"/>
                  </a:lnTo>
                  <a:lnTo>
                    <a:pt x="92" y="297"/>
                  </a:lnTo>
                  <a:lnTo>
                    <a:pt x="87" y="222"/>
                  </a:lnTo>
                  <a:lnTo>
                    <a:pt x="0" y="111"/>
                  </a:lnTo>
                  <a:lnTo>
                    <a:pt x="10" y="46"/>
                  </a:lnTo>
                  <a:lnTo>
                    <a:pt x="1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277"/>
            <p:cNvSpPr>
              <a:spLocks/>
            </p:cNvSpPr>
            <p:nvPr/>
          </p:nvSpPr>
          <p:spPr bwMode="auto">
            <a:xfrm>
              <a:off x="6829425" y="3389313"/>
              <a:ext cx="127000" cy="169863"/>
            </a:xfrm>
            <a:custGeom>
              <a:avLst/>
              <a:gdLst>
                <a:gd name="T0" fmla="*/ 0 w 242"/>
                <a:gd name="T1" fmla="*/ 1 h 322"/>
                <a:gd name="T2" fmla="*/ 35 w 242"/>
                <a:gd name="T3" fmla="*/ 79 h 322"/>
                <a:gd name="T4" fmla="*/ 43 w 242"/>
                <a:gd name="T5" fmla="*/ 179 h 322"/>
                <a:gd name="T6" fmla="*/ 89 w 242"/>
                <a:gd name="T7" fmla="*/ 250 h 322"/>
                <a:gd name="T8" fmla="*/ 200 w 242"/>
                <a:gd name="T9" fmla="*/ 318 h 322"/>
                <a:gd name="T10" fmla="*/ 242 w 242"/>
                <a:gd name="T11" fmla="*/ 322 h 322"/>
                <a:gd name="T12" fmla="*/ 235 w 242"/>
                <a:gd name="T13" fmla="*/ 252 h 322"/>
                <a:gd name="T14" fmla="*/ 198 w 242"/>
                <a:gd name="T15" fmla="*/ 164 h 322"/>
                <a:gd name="T16" fmla="*/ 144 w 242"/>
                <a:gd name="T17" fmla="*/ 50 h 322"/>
                <a:gd name="T18" fmla="*/ 140 w 242"/>
                <a:gd name="T19" fmla="*/ 70 h 322"/>
                <a:gd name="T20" fmla="*/ 75 w 242"/>
                <a:gd name="T21" fmla="*/ 67 h 322"/>
                <a:gd name="T22" fmla="*/ 30 w 242"/>
                <a:gd name="T23" fmla="*/ 0 h 322"/>
                <a:gd name="T24" fmla="*/ 0 w 242"/>
                <a:gd name="T25" fmla="*/ 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2" h="322">
                  <a:moveTo>
                    <a:pt x="0" y="1"/>
                  </a:moveTo>
                  <a:lnTo>
                    <a:pt x="35" y="79"/>
                  </a:lnTo>
                  <a:lnTo>
                    <a:pt x="43" y="179"/>
                  </a:lnTo>
                  <a:lnTo>
                    <a:pt x="89" y="250"/>
                  </a:lnTo>
                  <a:lnTo>
                    <a:pt x="200" y="318"/>
                  </a:lnTo>
                  <a:lnTo>
                    <a:pt x="242" y="322"/>
                  </a:lnTo>
                  <a:lnTo>
                    <a:pt x="235" y="252"/>
                  </a:lnTo>
                  <a:lnTo>
                    <a:pt x="198" y="164"/>
                  </a:lnTo>
                  <a:lnTo>
                    <a:pt x="144" y="50"/>
                  </a:lnTo>
                  <a:lnTo>
                    <a:pt x="140" y="70"/>
                  </a:lnTo>
                  <a:lnTo>
                    <a:pt x="75" y="67"/>
                  </a:lnTo>
                  <a:lnTo>
                    <a:pt x="3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278"/>
            <p:cNvSpPr>
              <a:spLocks/>
            </p:cNvSpPr>
            <p:nvPr/>
          </p:nvSpPr>
          <p:spPr bwMode="auto">
            <a:xfrm>
              <a:off x="6892925" y="3152775"/>
              <a:ext cx="119063" cy="131763"/>
            </a:xfrm>
            <a:custGeom>
              <a:avLst/>
              <a:gdLst>
                <a:gd name="T0" fmla="*/ 12 w 223"/>
                <a:gd name="T1" fmla="*/ 173 h 249"/>
                <a:gd name="T2" fmla="*/ 82 w 223"/>
                <a:gd name="T3" fmla="*/ 249 h 249"/>
                <a:gd name="T4" fmla="*/ 212 w 223"/>
                <a:gd name="T5" fmla="*/ 152 h 249"/>
                <a:gd name="T6" fmla="*/ 223 w 223"/>
                <a:gd name="T7" fmla="*/ 0 h 249"/>
                <a:gd name="T8" fmla="*/ 156 w 223"/>
                <a:gd name="T9" fmla="*/ 46 h 249"/>
                <a:gd name="T10" fmla="*/ 122 w 223"/>
                <a:gd name="T11" fmla="*/ 26 h 249"/>
                <a:gd name="T12" fmla="*/ 74 w 223"/>
                <a:gd name="T13" fmla="*/ 20 h 249"/>
                <a:gd name="T14" fmla="*/ 48 w 223"/>
                <a:gd name="T15" fmla="*/ 2 h 249"/>
                <a:gd name="T16" fmla="*/ 35 w 223"/>
                <a:gd name="T17" fmla="*/ 2 h 249"/>
                <a:gd name="T18" fmla="*/ 0 w 223"/>
                <a:gd name="T19" fmla="*/ 60 h 249"/>
                <a:gd name="T20" fmla="*/ 5 w 223"/>
                <a:gd name="T21" fmla="*/ 86 h 249"/>
                <a:gd name="T22" fmla="*/ 41 w 223"/>
                <a:gd name="T23" fmla="*/ 105 h 249"/>
                <a:gd name="T24" fmla="*/ 37 w 223"/>
                <a:gd name="T25" fmla="*/ 159 h 249"/>
                <a:gd name="T26" fmla="*/ 12 w 223"/>
                <a:gd name="T27" fmla="*/ 173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3" h="249">
                  <a:moveTo>
                    <a:pt x="12" y="173"/>
                  </a:moveTo>
                  <a:lnTo>
                    <a:pt x="82" y="249"/>
                  </a:lnTo>
                  <a:lnTo>
                    <a:pt x="212" y="152"/>
                  </a:lnTo>
                  <a:lnTo>
                    <a:pt x="223" y="0"/>
                  </a:lnTo>
                  <a:lnTo>
                    <a:pt x="156" y="46"/>
                  </a:lnTo>
                  <a:lnTo>
                    <a:pt x="122" y="26"/>
                  </a:lnTo>
                  <a:lnTo>
                    <a:pt x="74" y="20"/>
                  </a:lnTo>
                  <a:lnTo>
                    <a:pt x="48" y="2"/>
                  </a:lnTo>
                  <a:lnTo>
                    <a:pt x="35" y="2"/>
                  </a:lnTo>
                  <a:lnTo>
                    <a:pt x="0" y="60"/>
                  </a:lnTo>
                  <a:lnTo>
                    <a:pt x="5" y="86"/>
                  </a:lnTo>
                  <a:lnTo>
                    <a:pt x="41" y="105"/>
                  </a:lnTo>
                  <a:lnTo>
                    <a:pt x="37" y="159"/>
                  </a:lnTo>
                  <a:lnTo>
                    <a:pt x="12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279"/>
            <p:cNvSpPr>
              <a:spLocks/>
            </p:cNvSpPr>
            <p:nvPr/>
          </p:nvSpPr>
          <p:spPr bwMode="auto">
            <a:xfrm>
              <a:off x="6813550" y="2913063"/>
              <a:ext cx="198438" cy="255588"/>
            </a:xfrm>
            <a:custGeom>
              <a:avLst/>
              <a:gdLst>
                <a:gd name="T0" fmla="*/ 76 w 375"/>
                <a:gd name="T1" fmla="*/ 0 h 482"/>
                <a:gd name="T2" fmla="*/ 34 w 375"/>
                <a:gd name="T3" fmla="*/ 21 h 482"/>
                <a:gd name="T4" fmla="*/ 0 w 375"/>
                <a:gd name="T5" fmla="*/ 122 h 482"/>
                <a:gd name="T6" fmla="*/ 58 w 375"/>
                <a:gd name="T7" fmla="*/ 195 h 482"/>
                <a:gd name="T8" fmla="*/ 48 w 375"/>
                <a:gd name="T9" fmla="*/ 276 h 482"/>
                <a:gd name="T10" fmla="*/ 58 w 375"/>
                <a:gd name="T11" fmla="*/ 279 h 482"/>
                <a:gd name="T12" fmla="*/ 153 w 375"/>
                <a:gd name="T13" fmla="*/ 234 h 482"/>
                <a:gd name="T14" fmla="*/ 282 w 375"/>
                <a:gd name="T15" fmla="*/ 377 h 482"/>
                <a:gd name="T16" fmla="*/ 279 w 375"/>
                <a:gd name="T17" fmla="*/ 467 h 482"/>
                <a:gd name="T18" fmla="*/ 306 w 375"/>
                <a:gd name="T19" fmla="*/ 482 h 482"/>
                <a:gd name="T20" fmla="*/ 375 w 375"/>
                <a:gd name="T21" fmla="*/ 426 h 482"/>
                <a:gd name="T22" fmla="*/ 370 w 375"/>
                <a:gd name="T23" fmla="*/ 382 h 482"/>
                <a:gd name="T24" fmla="*/ 170 w 375"/>
                <a:gd name="T25" fmla="*/ 193 h 482"/>
                <a:gd name="T26" fmla="*/ 172 w 375"/>
                <a:gd name="T27" fmla="*/ 163 h 482"/>
                <a:gd name="T28" fmla="*/ 198 w 375"/>
                <a:gd name="T29" fmla="*/ 146 h 482"/>
                <a:gd name="T30" fmla="*/ 181 w 375"/>
                <a:gd name="T31" fmla="*/ 99 h 482"/>
                <a:gd name="T32" fmla="*/ 98 w 375"/>
                <a:gd name="T33" fmla="*/ 84 h 482"/>
                <a:gd name="T34" fmla="*/ 76 w 375"/>
                <a:gd name="T35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5" h="482">
                  <a:moveTo>
                    <a:pt x="76" y="0"/>
                  </a:moveTo>
                  <a:lnTo>
                    <a:pt x="34" y="21"/>
                  </a:lnTo>
                  <a:lnTo>
                    <a:pt x="0" y="122"/>
                  </a:lnTo>
                  <a:lnTo>
                    <a:pt x="58" y="195"/>
                  </a:lnTo>
                  <a:lnTo>
                    <a:pt x="48" y="276"/>
                  </a:lnTo>
                  <a:lnTo>
                    <a:pt x="58" y="279"/>
                  </a:lnTo>
                  <a:lnTo>
                    <a:pt x="153" y="234"/>
                  </a:lnTo>
                  <a:lnTo>
                    <a:pt x="282" y="377"/>
                  </a:lnTo>
                  <a:lnTo>
                    <a:pt x="279" y="467"/>
                  </a:lnTo>
                  <a:lnTo>
                    <a:pt x="306" y="482"/>
                  </a:lnTo>
                  <a:lnTo>
                    <a:pt x="375" y="426"/>
                  </a:lnTo>
                  <a:lnTo>
                    <a:pt x="370" y="382"/>
                  </a:lnTo>
                  <a:lnTo>
                    <a:pt x="170" y="193"/>
                  </a:lnTo>
                  <a:lnTo>
                    <a:pt x="172" y="163"/>
                  </a:lnTo>
                  <a:lnTo>
                    <a:pt x="198" y="146"/>
                  </a:lnTo>
                  <a:lnTo>
                    <a:pt x="181" y="99"/>
                  </a:lnTo>
                  <a:lnTo>
                    <a:pt x="98" y="84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280"/>
            <p:cNvSpPr>
              <a:spLocks/>
            </p:cNvSpPr>
            <p:nvPr/>
          </p:nvSpPr>
          <p:spPr bwMode="auto">
            <a:xfrm>
              <a:off x="6861175" y="2892425"/>
              <a:ext cx="204788" cy="436563"/>
            </a:xfrm>
            <a:custGeom>
              <a:avLst/>
              <a:gdLst>
                <a:gd name="T0" fmla="*/ 152 w 389"/>
                <a:gd name="T1" fmla="*/ 752 h 827"/>
                <a:gd name="T2" fmla="*/ 173 w 389"/>
                <a:gd name="T3" fmla="*/ 784 h 827"/>
                <a:gd name="T4" fmla="*/ 177 w 389"/>
                <a:gd name="T5" fmla="*/ 821 h 827"/>
                <a:gd name="T6" fmla="*/ 230 w 389"/>
                <a:gd name="T7" fmla="*/ 827 h 827"/>
                <a:gd name="T8" fmla="*/ 296 w 389"/>
                <a:gd name="T9" fmla="*/ 739 h 827"/>
                <a:gd name="T10" fmla="*/ 356 w 389"/>
                <a:gd name="T11" fmla="*/ 722 h 827"/>
                <a:gd name="T12" fmla="*/ 389 w 389"/>
                <a:gd name="T13" fmla="*/ 634 h 827"/>
                <a:gd name="T14" fmla="*/ 374 w 389"/>
                <a:gd name="T15" fmla="*/ 491 h 827"/>
                <a:gd name="T16" fmla="*/ 311 w 389"/>
                <a:gd name="T17" fmla="*/ 404 h 827"/>
                <a:gd name="T18" fmla="*/ 244 w 389"/>
                <a:gd name="T19" fmla="*/ 351 h 827"/>
                <a:gd name="T20" fmla="*/ 160 w 389"/>
                <a:gd name="T21" fmla="*/ 206 h 827"/>
                <a:gd name="T22" fmla="*/ 219 w 389"/>
                <a:gd name="T23" fmla="*/ 103 h 827"/>
                <a:gd name="T24" fmla="*/ 133 w 389"/>
                <a:gd name="T25" fmla="*/ 3 h 827"/>
                <a:gd name="T26" fmla="*/ 63 w 389"/>
                <a:gd name="T27" fmla="*/ 0 h 827"/>
                <a:gd name="T28" fmla="*/ 0 w 389"/>
                <a:gd name="T29" fmla="*/ 34 h 827"/>
                <a:gd name="T30" fmla="*/ 20 w 389"/>
                <a:gd name="T31" fmla="*/ 115 h 827"/>
                <a:gd name="T32" fmla="*/ 103 w 389"/>
                <a:gd name="T33" fmla="*/ 129 h 827"/>
                <a:gd name="T34" fmla="*/ 125 w 389"/>
                <a:gd name="T35" fmla="*/ 192 h 827"/>
                <a:gd name="T36" fmla="*/ 96 w 389"/>
                <a:gd name="T37" fmla="*/ 211 h 827"/>
                <a:gd name="T38" fmla="*/ 98 w 389"/>
                <a:gd name="T39" fmla="*/ 227 h 827"/>
                <a:gd name="T40" fmla="*/ 294 w 389"/>
                <a:gd name="T41" fmla="*/ 419 h 827"/>
                <a:gd name="T42" fmla="*/ 302 w 389"/>
                <a:gd name="T43" fmla="*/ 475 h 827"/>
                <a:gd name="T44" fmla="*/ 290 w 389"/>
                <a:gd name="T45" fmla="*/ 653 h 827"/>
                <a:gd name="T46" fmla="*/ 152 w 389"/>
                <a:gd name="T47" fmla="*/ 752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9" h="827">
                  <a:moveTo>
                    <a:pt x="152" y="752"/>
                  </a:moveTo>
                  <a:lnTo>
                    <a:pt x="173" y="784"/>
                  </a:lnTo>
                  <a:lnTo>
                    <a:pt x="177" y="821"/>
                  </a:lnTo>
                  <a:lnTo>
                    <a:pt x="230" y="827"/>
                  </a:lnTo>
                  <a:lnTo>
                    <a:pt x="296" y="739"/>
                  </a:lnTo>
                  <a:lnTo>
                    <a:pt x="356" y="722"/>
                  </a:lnTo>
                  <a:lnTo>
                    <a:pt x="389" y="634"/>
                  </a:lnTo>
                  <a:lnTo>
                    <a:pt x="374" y="491"/>
                  </a:lnTo>
                  <a:lnTo>
                    <a:pt x="311" y="404"/>
                  </a:lnTo>
                  <a:lnTo>
                    <a:pt x="244" y="351"/>
                  </a:lnTo>
                  <a:lnTo>
                    <a:pt x="160" y="206"/>
                  </a:lnTo>
                  <a:lnTo>
                    <a:pt x="219" y="103"/>
                  </a:lnTo>
                  <a:lnTo>
                    <a:pt x="133" y="3"/>
                  </a:lnTo>
                  <a:lnTo>
                    <a:pt x="63" y="0"/>
                  </a:lnTo>
                  <a:lnTo>
                    <a:pt x="0" y="34"/>
                  </a:lnTo>
                  <a:lnTo>
                    <a:pt x="20" y="115"/>
                  </a:lnTo>
                  <a:lnTo>
                    <a:pt x="103" y="129"/>
                  </a:lnTo>
                  <a:lnTo>
                    <a:pt x="125" y="192"/>
                  </a:lnTo>
                  <a:lnTo>
                    <a:pt x="96" y="211"/>
                  </a:lnTo>
                  <a:lnTo>
                    <a:pt x="98" y="227"/>
                  </a:lnTo>
                  <a:lnTo>
                    <a:pt x="294" y="419"/>
                  </a:lnTo>
                  <a:lnTo>
                    <a:pt x="302" y="475"/>
                  </a:lnTo>
                  <a:lnTo>
                    <a:pt x="290" y="653"/>
                  </a:lnTo>
                  <a:lnTo>
                    <a:pt x="152" y="7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281"/>
            <p:cNvSpPr>
              <a:spLocks/>
            </p:cNvSpPr>
            <p:nvPr/>
          </p:nvSpPr>
          <p:spPr bwMode="auto">
            <a:xfrm>
              <a:off x="5222875" y="2366963"/>
              <a:ext cx="138113" cy="69850"/>
            </a:xfrm>
            <a:custGeom>
              <a:avLst/>
              <a:gdLst>
                <a:gd name="T0" fmla="*/ 0 w 261"/>
                <a:gd name="T1" fmla="*/ 25 h 131"/>
                <a:gd name="T2" fmla="*/ 56 w 261"/>
                <a:gd name="T3" fmla="*/ 98 h 131"/>
                <a:gd name="T4" fmla="*/ 126 w 261"/>
                <a:gd name="T5" fmla="*/ 131 h 131"/>
                <a:gd name="T6" fmla="*/ 168 w 261"/>
                <a:gd name="T7" fmla="*/ 131 h 131"/>
                <a:gd name="T8" fmla="*/ 242 w 261"/>
                <a:gd name="T9" fmla="*/ 110 h 131"/>
                <a:gd name="T10" fmla="*/ 261 w 261"/>
                <a:gd name="T11" fmla="*/ 82 h 131"/>
                <a:gd name="T12" fmla="*/ 42 w 261"/>
                <a:gd name="T13" fmla="*/ 0 h 131"/>
                <a:gd name="T14" fmla="*/ 0 w 261"/>
                <a:gd name="T15" fmla="*/ 2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1" h="131">
                  <a:moveTo>
                    <a:pt x="0" y="25"/>
                  </a:moveTo>
                  <a:lnTo>
                    <a:pt x="56" y="98"/>
                  </a:lnTo>
                  <a:lnTo>
                    <a:pt x="126" y="131"/>
                  </a:lnTo>
                  <a:lnTo>
                    <a:pt x="168" y="131"/>
                  </a:lnTo>
                  <a:lnTo>
                    <a:pt x="242" y="110"/>
                  </a:lnTo>
                  <a:lnTo>
                    <a:pt x="261" y="82"/>
                  </a:lnTo>
                  <a:lnTo>
                    <a:pt x="42" y="0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282"/>
            <p:cNvSpPr>
              <a:spLocks/>
            </p:cNvSpPr>
            <p:nvPr/>
          </p:nvSpPr>
          <p:spPr bwMode="auto">
            <a:xfrm>
              <a:off x="5313363" y="2433638"/>
              <a:ext cx="82550" cy="71438"/>
            </a:xfrm>
            <a:custGeom>
              <a:avLst/>
              <a:gdLst>
                <a:gd name="T0" fmla="*/ 72 w 155"/>
                <a:gd name="T1" fmla="*/ 0 h 135"/>
                <a:gd name="T2" fmla="*/ 155 w 155"/>
                <a:gd name="T3" fmla="*/ 107 h 135"/>
                <a:gd name="T4" fmla="*/ 130 w 155"/>
                <a:gd name="T5" fmla="*/ 135 h 135"/>
                <a:gd name="T6" fmla="*/ 72 w 155"/>
                <a:gd name="T7" fmla="*/ 124 h 135"/>
                <a:gd name="T8" fmla="*/ 0 w 155"/>
                <a:gd name="T9" fmla="*/ 60 h 135"/>
                <a:gd name="T10" fmla="*/ 4 w 155"/>
                <a:gd name="T11" fmla="*/ 18 h 135"/>
                <a:gd name="T12" fmla="*/ 72 w 155"/>
                <a:gd name="T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35">
                  <a:moveTo>
                    <a:pt x="72" y="0"/>
                  </a:moveTo>
                  <a:lnTo>
                    <a:pt x="155" y="107"/>
                  </a:lnTo>
                  <a:lnTo>
                    <a:pt x="130" y="135"/>
                  </a:lnTo>
                  <a:lnTo>
                    <a:pt x="72" y="124"/>
                  </a:lnTo>
                  <a:lnTo>
                    <a:pt x="0" y="60"/>
                  </a:lnTo>
                  <a:lnTo>
                    <a:pt x="4" y="18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283"/>
            <p:cNvSpPr>
              <a:spLocks/>
            </p:cNvSpPr>
            <p:nvPr/>
          </p:nvSpPr>
          <p:spPr bwMode="auto">
            <a:xfrm>
              <a:off x="5357813" y="2413000"/>
              <a:ext cx="120650" cy="92075"/>
            </a:xfrm>
            <a:custGeom>
              <a:avLst/>
              <a:gdLst>
                <a:gd name="T0" fmla="*/ 18 w 226"/>
                <a:gd name="T1" fmla="*/ 0 h 175"/>
                <a:gd name="T2" fmla="*/ 0 w 226"/>
                <a:gd name="T3" fmla="*/ 29 h 175"/>
                <a:gd name="T4" fmla="*/ 81 w 226"/>
                <a:gd name="T5" fmla="*/ 136 h 175"/>
                <a:gd name="T6" fmla="*/ 109 w 226"/>
                <a:gd name="T7" fmla="*/ 127 h 175"/>
                <a:gd name="T8" fmla="*/ 155 w 226"/>
                <a:gd name="T9" fmla="*/ 175 h 175"/>
                <a:gd name="T10" fmla="*/ 175 w 226"/>
                <a:gd name="T11" fmla="*/ 90 h 175"/>
                <a:gd name="T12" fmla="*/ 226 w 226"/>
                <a:gd name="T13" fmla="*/ 98 h 175"/>
                <a:gd name="T14" fmla="*/ 224 w 226"/>
                <a:gd name="T15" fmla="*/ 74 h 175"/>
                <a:gd name="T16" fmla="*/ 141 w 226"/>
                <a:gd name="T17" fmla="*/ 2 h 175"/>
                <a:gd name="T18" fmla="*/ 125 w 226"/>
                <a:gd name="T19" fmla="*/ 44 h 175"/>
                <a:gd name="T20" fmla="*/ 18 w 226"/>
                <a:gd name="T21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6" h="175">
                  <a:moveTo>
                    <a:pt x="18" y="0"/>
                  </a:moveTo>
                  <a:lnTo>
                    <a:pt x="0" y="29"/>
                  </a:lnTo>
                  <a:lnTo>
                    <a:pt x="81" y="136"/>
                  </a:lnTo>
                  <a:lnTo>
                    <a:pt x="109" y="127"/>
                  </a:lnTo>
                  <a:lnTo>
                    <a:pt x="155" y="175"/>
                  </a:lnTo>
                  <a:lnTo>
                    <a:pt x="175" y="90"/>
                  </a:lnTo>
                  <a:lnTo>
                    <a:pt x="226" y="98"/>
                  </a:lnTo>
                  <a:lnTo>
                    <a:pt x="224" y="74"/>
                  </a:lnTo>
                  <a:lnTo>
                    <a:pt x="141" y="2"/>
                  </a:lnTo>
                  <a:lnTo>
                    <a:pt x="125" y="44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284"/>
            <p:cNvSpPr>
              <a:spLocks/>
            </p:cNvSpPr>
            <p:nvPr/>
          </p:nvSpPr>
          <p:spPr bwMode="auto">
            <a:xfrm>
              <a:off x="5340350" y="2487613"/>
              <a:ext cx="512763" cy="403225"/>
            </a:xfrm>
            <a:custGeom>
              <a:avLst/>
              <a:gdLst>
                <a:gd name="T0" fmla="*/ 21 w 968"/>
                <a:gd name="T1" fmla="*/ 34 h 760"/>
                <a:gd name="T2" fmla="*/ 0 w 968"/>
                <a:gd name="T3" fmla="*/ 55 h 760"/>
                <a:gd name="T4" fmla="*/ 3 w 968"/>
                <a:gd name="T5" fmla="*/ 89 h 760"/>
                <a:gd name="T6" fmla="*/ 28 w 968"/>
                <a:gd name="T7" fmla="*/ 126 h 760"/>
                <a:gd name="T8" fmla="*/ 121 w 968"/>
                <a:gd name="T9" fmla="*/ 227 h 760"/>
                <a:gd name="T10" fmla="*/ 107 w 968"/>
                <a:gd name="T11" fmla="*/ 268 h 760"/>
                <a:gd name="T12" fmla="*/ 90 w 968"/>
                <a:gd name="T13" fmla="*/ 268 h 760"/>
                <a:gd name="T14" fmla="*/ 82 w 968"/>
                <a:gd name="T15" fmla="*/ 308 h 760"/>
                <a:gd name="T16" fmla="*/ 135 w 968"/>
                <a:gd name="T17" fmla="*/ 375 h 760"/>
                <a:gd name="T18" fmla="*/ 183 w 968"/>
                <a:gd name="T19" fmla="*/ 379 h 760"/>
                <a:gd name="T20" fmla="*/ 279 w 968"/>
                <a:gd name="T21" fmla="*/ 513 h 760"/>
                <a:gd name="T22" fmla="*/ 334 w 968"/>
                <a:gd name="T23" fmla="*/ 517 h 760"/>
                <a:gd name="T24" fmla="*/ 375 w 968"/>
                <a:gd name="T25" fmla="*/ 547 h 760"/>
                <a:gd name="T26" fmla="*/ 378 w 968"/>
                <a:gd name="T27" fmla="*/ 607 h 760"/>
                <a:gd name="T28" fmla="*/ 544 w 968"/>
                <a:gd name="T29" fmla="*/ 705 h 760"/>
                <a:gd name="T30" fmla="*/ 607 w 968"/>
                <a:gd name="T31" fmla="*/ 705 h 760"/>
                <a:gd name="T32" fmla="*/ 644 w 968"/>
                <a:gd name="T33" fmla="*/ 672 h 760"/>
                <a:gd name="T34" fmla="*/ 693 w 968"/>
                <a:gd name="T35" fmla="*/ 670 h 760"/>
                <a:gd name="T36" fmla="*/ 721 w 968"/>
                <a:gd name="T37" fmla="*/ 735 h 760"/>
                <a:gd name="T38" fmla="*/ 901 w 968"/>
                <a:gd name="T39" fmla="*/ 760 h 760"/>
                <a:gd name="T40" fmla="*/ 906 w 968"/>
                <a:gd name="T41" fmla="*/ 693 h 760"/>
                <a:gd name="T42" fmla="*/ 966 w 968"/>
                <a:gd name="T43" fmla="*/ 672 h 760"/>
                <a:gd name="T44" fmla="*/ 968 w 968"/>
                <a:gd name="T45" fmla="*/ 649 h 760"/>
                <a:gd name="T46" fmla="*/ 922 w 968"/>
                <a:gd name="T47" fmla="*/ 584 h 760"/>
                <a:gd name="T48" fmla="*/ 815 w 968"/>
                <a:gd name="T49" fmla="*/ 499 h 760"/>
                <a:gd name="T50" fmla="*/ 871 w 968"/>
                <a:gd name="T51" fmla="*/ 449 h 760"/>
                <a:gd name="T52" fmla="*/ 867 w 968"/>
                <a:gd name="T53" fmla="*/ 426 h 760"/>
                <a:gd name="T54" fmla="*/ 798 w 968"/>
                <a:gd name="T55" fmla="*/ 415 h 760"/>
                <a:gd name="T56" fmla="*/ 768 w 968"/>
                <a:gd name="T57" fmla="*/ 181 h 760"/>
                <a:gd name="T58" fmla="*/ 764 w 968"/>
                <a:gd name="T59" fmla="*/ 127 h 760"/>
                <a:gd name="T60" fmla="*/ 576 w 968"/>
                <a:gd name="T61" fmla="*/ 55 h 760"/>
                <a:gd name="T62" fmla="*/ 492 w 968"/>
                <a:gd name="T63" fmla="*/ 73 h 760"/>
                <a:gd name="T64" fmla="*/ 446 w 968"/>
                <a:gd name="T65" fmla="*/ 131 h 760"/>
                <a:gd name="T66" fmla="*/ 404 w 968"/>
                <a:gd name="T67" fmla="*/ 128 h 760"/>
                <a:gd name="T68" fmla="*/ 393 w 968"/>
                <a:gd name="T69" fmla="*/ 138 h 760"/>
                <a:gd name="T70" fmla="*/ 300 w 968"/>
                <a:gd name="T71" fmla="*/ 132 h 760"/>
                <a:gd name="T72" fmla="*/ 184 w 968"/>
                <a:gd name="T73" fmla="*/ 47 h 760"/>
                <a:gd name="T74" fmla="*/ 140 w 968"/>
                <a:gd name="T75" fmla="*/ 0 h 760"/>
                <a:gd name="T76" fmla="*/ 121 w 968"/>
                <a:gd name="T77" fmla="*/ 4 h 760"/>
                <a:gd name="T78" fmla="*/ 84 w 968"/>
                <a:gd name="T79" fmla="*/ 46 h 760"/>
                <a:gd name="T80" fmla="*/ 21 w 968"/>
                <a:gd name="T81" fmla="*/ 34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8" h="760">
                  <a:moveTo>
                    <a:pt x="21" y="34"/>
                  </a:moveTo>
                  <a:lnTo>
                    <a:pt x="0" y="55"/>
                  </a:lnTo>
                  <a:lnTo>
                    <a:pt x="3" y="89"/>
                  </a:lnTo>
                  <a:lnTo>
                    <a:pt x="28" y="126"/>
                  </a:lnTo>
                  <a:lnTo>
                    <a:pt x="121" y="227"/>
                  </a:lnTo>
                  <a:lnTo>
                    <a:pt x="107" y="268"/>
                  </a:lnTo>
                  <a:lnTo>
                    <a:pt x="90" y="268"/>
                  </a:lnTo>
                  <a:lnTo>
                    <a:pt x="82" y="308"/>
                  </a:lnTo>
                  <a:lnTo>
                    <a:pt x="135" y="375"/>
                  </a:lnTo>
                  <a:lnTo>
                    <a:pt x="183" y="379"/>
                  </a:lnTo>
                  <a:lnTo>
                    <a:pt x="279" y="513"/>
                  </a:lnTo>
                  <a:lnTo>
                    <a:pt x="334" y="517"/>
                  </a:lnTo>
                  <a:lnTo>
                    <a:pt x="375" y="547"/>
                  </a:lnTo>
                  <a:lnTo>
                    <a:pt x="378" y="607"/>
                  </a:lnTo>
                  <a:lnTo>
                    <a:pt x="544" y="705"/>
                  </a:lnTo>
                  <a:lnTo>
                    <a:pt x="607" y="705"/>
                  </a:lnTo>
                  <a:lnTo>
                    <a:pt x="644" y="672"/>
                  </a:lnTo>
                  <a:lnTo>
                    <a:pt x="693" y="670"/>
                  </a:lnTo>
                  <a:lnTo>
                    <a:pt x="721" y="735"/>
                  </a:lnTo>
                  <a:lnTo>
                    <a:pt x="901" y="760"/>
                  </a:lnTo>
                  <a:lnTo>
                    <a:pt x="906" y="693"/>
                  </a:lnTo>
                  <a:lnTo>
                    <a:pt x="966" y="672"/>
                  </a:lnTo>
                  <a:lnTo>
                    <a:pt x="968" y="649"/>
                  </a:lnTo>
                  <a:lnTo>
                    <a:pt x="922" y="584"/>
                  </a:lnTo>
                  <a:lnTo>
                    <a:pt x="815" y="499"/>
                  </a:lnTo>
                  <a:lnTo>
                    <a:pt x="871" y="449"/>
                  </a:lnTo>
                  <a:lnTo>
                    <a:pt x="867" y="426"/>
                  </a:lnTo>
                  <a:lnTo>
                    <a:pt x="798" y="415"/>
                  </a:lnTo>
                  <a:lnTo>
                    <a:pt x="768" y="181"/>
                  </a:lnTo>
                  <a:lnTo>
                    <a:pt x="764" y="127"/>
                  </a:lnTo>
                  <a:lnTo>
                    <a:pt x="576" y="55"/>
                  </a:lnTo>
                  <a:lnTo>
                    <a:pt x="492" y="73"/>
                  </a:lnTo>
                  <a:lnTo>
                    <a:pt x="446" y="131"/>
                  </a:lnTo>
                  <a:lnTo>
                    <a:pt x="404" y="128"/>
                  </a:lnTo>
                  <a:lnTo>
                    <a:pt x="393" y="138"/>
                  </a:lnTo>
                  <a:lnTo>
                    <a:pt x="300" y="132"/>
                  </a:lnTo>
                  <a:lnTo>
                    <a:pt x="184" y="47"/>
                  </a:lnTo>
                  <a:lnTo>
                    <a:pt x="140" y="0"/>
                  </a:lnTo>
                  <a:lnTo>
                    <a:pt x="121" y="4"/>
                  </a:lnTo>
                  <a:lnTo>
                    <a:pt x="84" y="46"/>
                  </a:lnTo>
                  <a:lnTo>
                    <a:pt x="21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285"/>
            <p:cNvSpPr>
              <a:spLocks/>
            </p:cNvSpPr>
            <p:nvPr/>
          </p:nvSpPr>
          <p:spPr bwMode="auto">
            <a:xfrm>
              <a:off x="4894263" y="2417763"/>
              <a:ext cx="454025" cy="193675"/>
            </a:xfrm>
            <a:custGeom>
              <a:avLst/>
              <a:gdLst>
                <a:gd name="T0" fmla="*/ 676 w 858"/>
                <a:gd name="T1" fmla="*/ 16 h 367"/>
                <a:gd name="T2" fmla="*/ 638 w 858"/>
                <a:gd name="T3" fmla="*/ 57 h 367"/>
                <a:gd name="T4" fmla="*/ 497 w 858"/>
                <a:gd name="T5" fmla="*/ 53 h 367"/>
                <a:gd name="T6" fmla="*/ 413 w 858"/>
                <a:gd name="T7" fmla="*/ 2 h 367"/>
                <a:gd name="T8" fmla="*/ 330 w 858"/>
                <a:gd name="T9" fmla="*/ 0 h 367"/>
                <a:gd name="T10" fmla="*/ 236 w 858"/>
                <a:gd name="T11" fmla="*/ 67 h 367"/>
                <a:gd name="T12" fmla="*/ 148 w 858"/>
                <a:gd name="T13" fmla="*/ 71 h 367"/>
                <a:gd name="T14" fmla="*/ 140 w 858"/>
                <a:gd name="T15" fmla="*/ 122 h 367"/>
                <a:gd name="T16" fmla="*/ 39 w 858"/>
                <a:gd name="T17" fmla="*/ 122 h 367"/>
                <a:gd name="T18" fmla="*/ 0 w 858"/>
                <a:gd name="T19" fmla="*/ 158 h 367"/>
                <a:gd name="T20" fmla="*/ 0 w 858"/>
                <a:gd name="T21" fmla="*/ 179 h 367"/>
                <a:gd name="T22" fmla="*/ 24 w 858"/>
                <a:gd name="T23" fmla="*/ 199 h 367"/>
                <a:gd name="T24" fmla="*/ 24 w 858"/>
                <a:gd name="T25" fmla="*/ 220 h 367"/>
                <a:gd name="T26" fmla="*/ 14 w 858"/>
                <a:gd name="T27" fmla="*/ 247 h 367"/>
                <a:gd name="T28" fmla="*/ 24 w 858"/>
                <a:gd name="T29" fmla="*/ 269 h 367"/>
                <a:gd name="T30" fmla="*/ 56 w 858"/>
                <a:gd name="T31" fmla="*/ 254 h 367"/>
                <a:gd name="T32" fmla="*/ 88 w 858"/>
                <a:gd name="T33" fmla="*/ 287 h 367"/>
                <a:gd name="T34" fmla="*/ 80 w 858"/>
                <a:gd name="T35" fmla="*/ 312 h 367"/>
                <a:gd name="T36" fmla="*/ 68 w 858"/>
                <a:gd name="T37" fmla="*/ 328 h 367"/>
                <a:gd name="T38" fmla="*/ 86 w 858"/>
                <a:gd name="T39" fmla="*/ 348 h 367"/>
                <a:gd name="T40" fmla="*/ 174 w 858"/>
                <a:gd name="T41" fmla="*/ 367 h 367"/>
                <a:gd name="T42" fmla="*/ 237 w 858"/>
                <a:gd name="T43" fmla="*/ 340 h 367"/>
                <a:gd name="T44" fmla="*/ 237 w 858"/>
                <a:gd name="T45" fmla="*/ 302 h 367"/>
                <a:gd name="T46" fmla="*/ 266 w 858"/>
                <a:gd name="T47" fmla="*/ 308 h 367"/>
                <a:gd name="T48" fmla="*/ 339 w 858"/>
                <a:gd name="T49" fmla="*/ 350 h 367"/>
                <a:gd name="T50" fmla="*/ 418 w 858"/>
                <a:gd name="T51" fmla="*/ 338 h 367"/>
                <a:gd name="T52" fmla="*/ 451 w 858"/>
                <a:gd name="T53" fmla="*/ 306 h 367"/>
                <a:gd name="T54" fmla="*/ 474 w 858"/>
                <a:gd name="T55" fmla="*/ 314 h 367"/>
                <a:gd name="T56" fmla="*/ 474 w 858"/>
                <a:gd name="T57" fmla="*/ 350 h 367"/>
                <a:gd name="T58" fmla="*/ 504 w 858"/>
                <a:gd name="T59" fmla="*/ 350 h 367"/>
                <a:gd name="T60" fmla="*/ 529 w 858"/>
                <a:gd name="T61" fmla="*/ 300 h 367"/>
                <a:gd name="T62" fmla="*/ 759 w 858"/>
                <a:gd name="T63" fmla="*/ 275 h 367"/>
                <a:gd name="T64" fmla="*/ 858 w 858"/>
                <a:gd name="T65" fmla="*/ 263 h 367"/>
                <a:gd name="T66" fmla="*/ 832 w 858"/>
                <a:gd name="T67" fmla="*/ 228 h 367"/>
                <a:gd name="T68" fmla="*/ 832 w 858"/>
                <a:gd name="T69" fmla="*/ 182 h 367"/>
                <a:gd name="T70" fmla="*/ 851 w 858"/>
                <a:gd name="T71" fmla="*/ 158 h 367"/>
                <a:gd name="T72" fmla="*/ 778 w 858"/>
                <a:gd name="T73" fmla="*/ 100 h 367"/>
                <a:gd name="T74" fmla="*/ 782 w 858"/>
                <a:gd name="T75" fmla="*/ 49 h 367"/>
                <a:gd name="T76" fmla="*/ 743 w 858"/>
                <a:gd name="T77" fmla="*/ 49 h 367"/>
                <a:gd name="T78" fmla="*/ 676 w 858"/>
                <a:gd name="T79" fmla="*/ 1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8" h="367">
                  <a:moveTo>
                    <a:pt x="676" y="16"/>
                  </a:moveTo>
                  <a:lnTo>
                    <a:pt x="638" y="57"/>
                  </a:lnTo>
                  <a:lnTo>
                    <a:pt x="497" y="53"/>
                  </a:lnTo>
                  <a:lnTo>
                    <a:pt x="413" y="2"/>
                  </a:lnTo>
                  <a:lnTo>
                    <a:pt x="330" y="0"/>
                  </a:lnTo>
                  <a:lnTo>
                    <a:pt x="236" y="67"/>
                  </a:lnTo>
                  <a:lnTo>
                    <a:pt x="148" y="71"/>
                  </a:lnTo>
                  <a:lnTo>
                    <a:pt x="140" y="122"/>
                  </a:lnTo>
                  <a:lnTo>
                    <a:pt x="39" y="122"/>
                  </a:lnTo>
                  <a:lnTo>
                    <a:pt x="0" y="158"/>
                  </a:lnTo>
                  <a:lnTo>
                    <a:pt x="0" y="179"/>
                  </a:lnTo>
                  <a:lnTo>
                    <a:pt x="24" y="199"/>
                  </a:lnTo>
                  <a:lnTo>
                    <a:pt x="24" y="220"/>
                  </a:lnTo>
                  <a:lnTo>
                    <a:pt x="14" y="247"/>
                  </a:lnTo>
                  <a:lnTo>
                    <a:pt x="24" y="269"/>
                  </a:lnTo>
                  <a:lnTo>
                    <a:pt x="56" y="254"/>
                  </a:lnTo>
                  <a:lnTo>
                    <a:pt x="88" y="287"/>
                  </a:lnTo>
                  <a:lnTo>
                    <a:pt x="80" y="312"/>
                  </a:lnTo>
                  <a:lnTo>
                    <a:pt x="68" y="328"/>
                  </a:lnTo>
                  <a:lnTo>
                    <a:pt x="86" y="348"/>
                  </a:lnTo>
                  <a:lnTo>
                    <a:pt x="174" y="367"/>
                  </a:lnTo>
                  <a:lnTo>
                    <a:pt x="237" y="340"/>
                  </a:lnTo>
                  <a:lnTo>
                    <a:pt x="237" y="302"/>
                  </a:lnTo>
                  <a:lnTo>
                    <a:pt x="266" y="308"/>
                  </a:lnTo>
                  <a:lnTo>
                    <a:pt x="339" y="350"/>
                  </a:lnTo>
                  <a:lnTo>
                    <a:pt x="418" y="338"/>
                  </a:lnTo>
                  <a:lnTo>
                    <a:pt x="451" y="306"/>
                  </a:lnTo>
                  <a:lnTo>
                    <a:pt x="474" y="314"/>
                  </a:lnTo>
                  <a:lnTo>
                    <a:pt x="474" y="350"/>
                  </a:lnTo>
                  <a:lnTo>
                    <a:pt x="504" y="350"/>
                  </a:lnTo>
                  <a:lnTo>
                    <a:pt x="529" y="300"/>
                  </a:lnTo>
                  <a:lnTo>
                    <a:pt x="759" y="275"/>
                  </a:lnTo>
                  <a:lnTo>
                    <a:pt x="858" y="263"/>
                  </a:lnTo>
                  <a:lnTo>
                    <a:pt x="832" y="228"/>
                  </a:lnTo>
                  <a:lnTo>
                    <a:pt x="832" y="182"/>
                  </a:lnTo>
                  <a:lnTo>
                    <a:pt x="851" y="158"/>
                  </a:lnTo>
                  <a:lnTo>
                    <a:pt x="778" y="100"/>
                  </a:lnTo>
                  <a:lnTo>
                    <a:pt x="782" y="49"/>
                  </a:lnTo>
                  <a:lnTo>
                    <a:pt x="743" y="49"/>
                  </a:lnTo>
                  <a:lnTo>
                    <a:pt x="6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286"/>
            <p:cNvSpPr>
              <a:spLocks/>
            </p:cNvSpPr>
            <p:nvPr/>
          </p:nvSpPr>
          <p:spPr bwMode="auto">
            <a:xfrm>
              <a:off x="5373688" y="3078163"/>
              <a:ext cx="266700" cy="179388"/>
            </a:xfrm>
            <a:custGeom>
              <a:avLst/>
              <a:gdLst>
                <a:gd name="T0" fmla="*/ 0 w 504"/>
                <a:gd name="T1" fmla="*/ 139 h 337"/>
                <a:gd name="T2" fmla="*/ 24 w 504"/>
                <a:gd name="T3" fmla="*/ 212 h 337"/>
                <a:gd name="T4" fmla="*/ 24 w 504"/>
                <a:gd name="T5" fmla="*/ 283 h 337"/>
                <a:gd name="T6" fmla="*/ 83 w 504"/>
                <a:gd name="T7" fmla="*/ 337 h 337"/>
                <a:gd name="T8" fmla="*/ 501 w 504"/>
                <a:gd name="T9" fmla="*/ 167 h 337"/>
                <a:gd name="T10" fmla="*/ 504 w 504"/>
                <a:gd name="T11" fmla="*/ 121 h 337"/>
                <a:gd name="T12" fmla="*/ 438 w 504"/>
                <a:gd name="T13" fmla="*/ 0 h 337"/>
                <a:gd name="T14" fmla="*/ 270 w 504"/>
                <a:gd name="T15" fmla="*/ 54 h 337"/>
                <a:gd name="T16" fmla="*/ 173 w 504"/>
                <a:gd name="T17" fmla="*/ 149 h 337"/>
                <a:gd name="T18" fmla="*/ 62 w 504"/>
                <a:gd name="T19" fmla="*/ 82 h 337"/>
                <a:gd name="T20" fmla="*/ 0 w 504"/>
                <a:gd name="T21" fmla="*/ 139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4" h="337">
                  <a:moveTo>
                    <a:pt x="0" y="139"/>
                  </a:moveTo>
                  <a:lnTo>
                    <a:pt x="24" y="212"/>
                  </a:lnTo>
                  <a:lnTo>
                    <a:pt x="24" y="283"/>
                  </a:lnTo>
                  <a:lnTo>
                    <a:pt x="83" y="337"/>
                  </a:lnTo>
                  <a:lnTo>
                    <a:pt x="501" y="167"/>
                  </a:lnTo>
                  <a:lnTo>
                    <a:pt x="504" y="121"/>
                  </a:lnTo>
                  <a:lnTo>
                    <a:pt x="438" y="0"/>
                  </a:lnTo>
                  <a:lnTo>
                    <a:pt x="270" y="54"/>
                  </a:lnTo>
                  <a:lnTo>
                    <a:pt x="173" y="149"/>
                  </a:lnTo>
                  <a:lnTo>
                    <a:pt x="62" y="82"/>
                  </a:lnTo>
                  <a:lnTo>
                    <a:pt x="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287"/>
            <p:cNvSpPr>
              <a:spLocks/>
            </p:cNvSpPr>
            <p:nvPr/>
          </p:nvSpPr>
          <p:spPr bwMode="auto">
            <a:xfrm>
              <a:off x="5611813" y="2903538"/>
              <a:ext cx="177800" cy="234950"/>
            </a:xfrm>
            <a:custGeom>
              <a:avLst/>
              <a:gdLst>
                <a:gd name="T0" fmla="*/ 0 w 336"/>
                <a:gd name="T1" fmla="*/ 325 h 443"/>
                <a:gd name="T2" fmla="*/ 126 w 336"/>
                <a:gd name="T3" fmla="*/ 252 h 443"/>
                <a:gd name="T4" fmla="*/ 149 w 336"/>
                <a:gd name="T5" fmla="*/ 145 h 443"/>
                <a:gd name="T6" fmla="*/ 120 w 336"/>
                <a:gd name="T7" fmla="*/ 129 h 443"/>
                <a:gd name="T8" fmla="*/ 132 w 336"/>
                <a:gd name="T9" fmla="*/ 14 h 443"/>
                <a:gd name="T10" fmla="*/ 156 w 336"/>
                <a:gd name="T11" fmla="*/ 0 h 443"/>
                <a:gd name="T12" fmla="*/ 182 w 336"/>
                <a:gd name="T13" fmla="*/ 40 h 443"/>
                <a:gd name="T14" fmla="*/ 336 w 336"/>
                <a:gd name="T15" fmla="*/ 121 h 443"/>
                <a:gd name="T16" fmla="*/ 336 w 336"/>
                <a:gd name="T17" fmla="*/ 166 h 443"/>
                <a:gd name="T18" fmla="*/ 150 w 336"/>
                <a:gd name="T19" fmla="*/ 440 h 443"/>
                <a:gd name="T20" fmla="*/ 63 w 336"/>
                <a:gd name="T21" fmla="*/ 443 h 443"/>
                <a:gd name="T22" fmla="*/ 0 w 336"/>
                <a:gd name="T23" fmla="*/ 325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6" h="443">
                  <a:moveTo>
                    <a:pt x="0" y="325"/>
                  </a:moveTo>
                  <a:lnTo>
                    <a:pt x="126" y="252"/>
                  </a:lnTo>
                  <a:lnTo>
                    <a:pt x="149" y="145"/>
                  </a:lnTo>
                  <a:lnTo>
                    <a:pt x="120" y="129"/>
                  </a:lnTo>
                  <a:lnTo>
                    <a:pt x="132" y="14"/>
                  </a:lnTo>
                  <a:lnTo>
                    <a:pt x="156" y="0"/>
                  </a:lnTo>
                  <a:lnTo>
                    <a:pt x="182" y="40"/>
                  </a:lnTo>
                  <a:lnTo>
                    <a:pt x="336" y="121"/>
                  </a:lnTo>
                  <a:lnTo>
                    <a:pt x="336" y="166"/>
                  </a:lnTo>
                  <a:lnTo>
                    <a:pt x="150" y="440"/>
                  </a:lnTo>
                  <a:lnTo>
                    <a:pt x="63" y="443"/>
                  </a:lnTo>
                  <a:lnTo>
                    <a:pt x="0" y="3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288"/>
            <p:cNvSpPr>
              <a:spLocks/>
            </p:cNvSpPr>
            <p:nvPr/>
          </p:nvSpPr>
          <p:spPr bwMode="auto">
            <a:xfrm>
              <a:off x="5572125" y="2873375"/>
              <a:ext cx="125413" cy="98425"/>
            </a:xfrm>
            <a:custGeom>
              <a:avLst/>
              <a:gdLst>
                <a:gd name="T0" fmla="*/ 0 w 238"/>
                <a:gd name="T1" fmla="*/ 111 h 185"/>
                <a:gd name="T2" fmla="*/ 16 w 238"/>
                <a:gd name="T3" fmla="*/ 170 h 185"/>
                <a:gd name="T4" fmla="*/ 184 w 238"/>
                <a:gd name="T5" fmla="*/ 185 h 185"/>
                <a:gd name="T6" fmla="*/ 196 w 238"/>
                <a:gd name="T7" fmla="*/ 63 h 185"/>
                <a:gd name="T8" fmla="*/ 229 w 238"/>
                <a:gd name="T9" fmla="*/ 45 h 185"/>
                <a:gd name="T10" fmla="*/ 238 w 238"/>
                <a:gd name="T11" fmla="*/ 0 h 185"/>
                <a:gd name="T12" fmla="*/ 184 w 238"/>
                <a:gd name="T13" fmla="*/ 15 h 185"/>
                <a:gd name="T14" fmla="*/ 125 w 238"/>
                <a:gd name="T15" fmla="*/ 104 h 185"/>
                <a:gd name="T16" fmla="*/ 0 w 238"/>
                <a:gd name="T17" fmla="*/ 11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185">
                  <a:moveTo>
                    <a:pt x="0" y="111"/>
                  </a:moveTo>
                  <a:lnTo>
                    <a:pt x="16" y="170"/>
                  </a:lnTo>
                  <a:lnTo>
                    <a:pt x="184" y="185"/>
                  </a:lnTo>
                  <a:lnTo>
                    <a:pt x="196" y="63"/>
                  </a:lnTo>
                  <a:lnTo>
                    <a:pt x="229" y="45"/>
                  </a:lnTo>
                  <a:lnTo>
                    <a:pt x="238" y="0"/>
                  </a:lnTo>
                  <a:lnTo>
                    <a:pt x="184" y="15"/>
                  </a:lnTo>
                  <a:lnTo>
                    <a:pt x="125" y="104"/>
                  </a:lnTo>
                  <a:lnTo>
                    <a:pt x="0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289"/>
            <p:cNvSpPr>
              <a:spLocks/>
            </p:cNvSpPr>
            <p:nvPr/>
          </p:nvSpPr>
          <p:spPr bwMode="auto">
            <a:xfrm>
              <a:off x="5554663" y="2870200"/>
              <a:ext cx="31750" cy="53975"/>
            </a:xfrm>
            <a:custGeom>
              <a:avLst/>
              <a:gdLst>
                <a:gd name="T0" fmla="*/ 9 w 59"/>
                <a:gd name="T1" fmla="*/ 15 h 103"/>
                <a:gd name="T2" fmla="*/ 0 w 59"/>
                <a:gd name="T3" fmla="*/ 84 h 103"/>
                <a:gd name="T4" fmla="*/ 26 w 59"/>
                <a:gd name="T5" fmla="*/ 103 h 103"/>
                <a:gd name="T6" fmla="*/ 51 w 59"/>
                <a:gd name="T7" fmla="*/ 101 h 103"/>
                <a:gd name="T8" fmla="*/ 59 w 59"/>
                <a:gd name="T9" fmla="*/ 15 h 103"/>
                <a:gd name="T10" fmla="*/ 39 w 59"/>
                <a:gd name="T11" fmla="*/ 0 h 103"/>
                <a:gd name="T12" fmla="*/ 9 w 59"/>
                <a:gd name="T13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103">
                  <a:moveTo>
                    <a:pt x="9" y="15"/>
                  </a:moveTo>
                  <a:lnTo>
                    <a:pt x="0" y="84"/>
                  </a:lnTo>
                  <a:lnTo>
                    <a:pt x="26" y="103"/>
                  </a:lnTo>
                  <a:lnTo>
                    <a:pt x="51" y="101"/>
                  </a:lnTo>
                  <a:lnTo>
                    <a:pt x="59" y="15"/>
                  </a:lnTo>
                  <a:lnTo>
                    <a:pt x="39" y="0"/>
                  </a:lnTo>
                  <a:lnTo>
                    <a:pt x="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290"/>
            <p:cNvSpPr>
              <a:spLocks/>
            </p:cNvSpPr>
            <p:nvPr/>
          </p:nvSpPr>
          <p:spPr bwMode="auto">
            <a:xfrm>
              <a:off x="5440363" y="2759075"/>
              <a:ext cx="34925" cy="55563"/>
            </a:xfrm>
            <a:custGeom>
              <a:avLst/>
              <a:gdLst>
                <a:gd name="T0" fmla="*/ 65 w 65"/>
                <a:gd name="T1" fmla="*/ 21 h 104"/>
                <a:gd name="T2" fmla="*/ 26 w 65"/>
                <a:gd name="T3" fmla="*/ 0 h 104"/>
                <a:gd name="T4" fmla="*/ 0 w 65"/>
                <a:gd name="T5" fmla="*/ 27 h 104"/>
                <a:gd name="T6" fmla="*/ 3 w 65"/>
                <a:gd name="T7" fmla="*/ 81 h 104"/>
                <a:gd name="T8" fmla="*/ 65 w 65"/>
                <a:gd name="T9" fmla="*/ 104 h 104"/>
                <a:gd name="T10" fmla="*/ 65 w 65"/>
                <a:gd name="T11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104">
                  <a:moveTo>
                    <a:pt x="65" y="21"/>
                  </a:moveTo>
                  <a:lnTo>
                    <a:pt x="26" y="0"/>
                  </a:lnTo>
                  <a:lnTo>
                    <a:pt x="0" y="27"/>
                  </a:lnTo>
                  <a:lnTo>
                    <a:pt x="3" y="81"/>
                  </a:lnTo>
                  <a:lnTo>
                    <a:pt x="65" y="104"/>
                  </a:lnTo>
                  <a:lnTo>
                    <a:pt x="65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291"/>
            <p:cNvSpPr>
              <a:spLocks/>
            </p:cNvSpPr>
            <p:nvPr/>
          </p:nvSpPr>
          <p:spPr bwMode="auto">
            <a:xfrm>
              <a:off x="5141913" y="2719388"/>
              <a:ext cx="541338" cy="428625"/>
            </a:xfrm>
            <a:custGeom>
              <a:avLst/>
              <a:gdLst>
                <a:gd name="T0" fmla="*/ 643 w 1025"/>
                <a:gd name="T1" fmla="*/ 202 h 811"/>
                <a:gd name="T2" fmla="*/ 763 w 1025"/>
                <a:gd name="T3" fmla="*/ 369 h 811"/>
                <a:gd name="T4" fmla="*/ 802 w 1025"/>
                <a:gd name="T5" fmla="*/ 401 h 811"/>
                <a:gd name="T6" fmla="*/ 819 w 1025"/>
                <a:gd name="T7" fmla="*/ 476 h 811"/>
                <a:gd name="T8" fmla="*/ 1004 w 1025"/>
                <a:gd name="T9" fmla="*/ 490 h 811"/>
                <a:gd name="T10" fmla="*/ 1025 w 1025"/>
                <a:gd name="T11" fmla="*/ 501 h 811"/>
                <a:gd name="T12" fmla="*/ 1004 w 1025"/>
                <a:gd name="T13" fmla="*/ 593 h 811"/>
                <a:gd name="T14" fmla="*/ 882 w 1025"/>
                <a:gd name="T15" fmla="*/ 664 h 811"/>
                <a:gd name="T16" fmla="*/ 705 w 1025"/>
                <a:gd name="T17" fmla="*/ 718 h 811"/>
                <a:gd name="T18" fmla="*/ 610 w 1025"/>
                <a:gd name="T19" fmla="*/ 811 h 811"/>
                <a:gd name="T20" fmla="*/ 498 w 1025"/>
                <a:gd name="T21" fmla="*/ 746 h 811"/>
                <a:gd name="T22" fmla="*/ 430 w 1025"/>
                <a:gd name="T23" fmla="*/ 805 h 811"/>
                <a:gd name="T24" fmla="*/ 334 w 1025"/>
                <a:gd name="T25" fmla="*/ 650 h 811"/>
                <a:gd name="T26" fmla="*/ 269 w 1025"/>
                <a:gd name="T27" fmla="*/ 620 h 811"/>
                <a:gd name="T28" fmla="*/ 246 w 1025"/>
                <a:gd name="T29" fmla="*/ 584 h 811"/>
                <a:gd name="T30" fmla="*/ 246 w 1025"/>
                <a:gd name="T31" fmla="*/ 507 h 811"/>
                <a:gd name="T32" fmla="*/ 10 w 1025"/>
                <a:gd name="T33" fmla="*/ 221 h 811"/>
                <a:gd name="T34" fmla="*/ 0 w 1025"/>
                <a:gd name="T35" fmla="*/ 170 h 811"/>
                <a:gd name="T36" fmla="*/ 68 w 1025"/>
                <a:gd name="T37" fmla="*/ 170 h 811"/>
                <a:gd name="T38" fmla="*/ 152 w 1025"/>
                <a:gd name="T39" fmla="*/ 98 h 811"/>
                <a:gd name="T40" fmla="*/ 155 w 1025"/>
                <a:gd name="T41" fmla="*/ 63 h 811"/>
                <a:gd name="T42" fmla="*/ 130 w 1025"/>
                <a:gd name="T43" fmla="*/ 38 h 811"/>
                <a:gd name="T44" fmla="*/ 178 w 1025"/>
                <a:gd name="T45" fmla="*/ 0 h 811"/>
                <a:gd name="T46" fmla="*/ 279 w 1025"/>
                <a:gd name="T47" fmla="*/ 6 h 811"/>
                <a:gd name="T48" fmla="*/ 451 w 1025"/>
                <a:gd name="T49" fmla="*/ 149 h 811"/>
                <a:gd name="T50" fmla="*/ 552 w 1025"/>
                <a:gd name="T51" fmla="*/ 145 h 811"/>
                <a:gd name="T52" fmla="*/ 559 w 1025"/>
                <a:gd name="T53" fmla="*/ 169 h 811"/>
                <a:gd name="T54" fmla="*/ 643 w 1025"/>
                <a:gd name="T55" fmla="*/ 202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25" h="811">
                  <a:moveTo>
                    <a:pt x="643" y="202"/>
                  </a:moveTo>
                  <a:lnTo>
                    <a:pt x="763" y="369"/>
                  </a:lnTo>
                  <a:lnTo>
                    <a:pt x="802" y="401"/>
                  </a:lnTo>
                  <a:lnTo>
                    <a:pt x="819" y="476"/>
                  </a:lnTo>
                  <a:lnTo>
                    <a:pt x="1004" y="490"/>
                  </a:lnTo>
                  <a:lnTo>
                    <a:pt x="1025" y="501"/>
                  </a:lnTo>
                  <a:lnTo>
                    <a:pt x="1004" y="593"/>
                  </a:lnTo>
                  <a:lnTo>
                    <a:pt x="882" y="664"/>
                  </a:lnTo>
                  <a:lnTo>
                    <a:pt x="705" y="718"/>
                  </a:lnTo>
                  <a:lnTo>
                    <a:pt x="610" y="811"/>
                  </a:lnTo>
                  <a:lnTo>
                    <a:pt x="498" y="746"/>
                  </a:lnTo>
                  <a:lnTo>
                    <a:pt x="430" y="805"/>
                  </a:lnTo>
                  <a:lnTo>
                    <a:pt x="334" y="650"/>
                  </a:lnTo>
                  <a:lnTo>
                    <a:pt x="269" y="620"/>
                  </a:lnTo>
                  <a:lnTo>
                    <a:pt x="246" y="584"/>
                  </a:lnTo>
                  <a:lnTo>
                    <a:pt x="246" y="507"/>
                  </a:lnTo>
                  <a:lnTo>
                    <a:pt x="10" y="221"/>
                  </a:lnTo>
                  <a:lnTo>
                    <a:pt x="0" y="170"/>
                  </a:lnTo>
                  <a:lnTo>
                    <a:pt x="68" y="170"/>
                  </a:lnTo>
                  <a:lnTo>
                    <a:pt x="152" y="98"/>
                  </a:lnTo>
                  <a:lnTo>
                    <a:pt x="155" y="63"/>
                  </a:lnTo>
                  <a:lnTo>
                    <a:pt x="130" y="38"/>
                  </a:lnTo>
                  <a:lnTo>
                    <a:pt x="178" y="0"/>
                  </a:lnTo>
                  <a:lnTo>
                    <a:pt x="279" y="6"/>
                  </a:lnTo>
                  <a:lnTo>
                    <a:pt x="451" y="149"/>
                  </a:lnTo>
                  <a:lnTo>
                    <a:pt x="552" y="145"/>
                  </a:lnTo>
                  <a:lnTo>
                    <a:pt x="559" y="169"/>
                  </a:lnTo>
                  <a:lnTo>
                    <a:pt x="643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292"/>
            <p:cNvSpPr>
              <a:spLocks/>
            </p:cNvSpPr>
            <p:nvPr/>
          </p:nvSpPr>
          <p:spPr bwMode="auto">
            <a:xfrm>
              <a:off x="5140325" y="2570163"/>
              <a:ext cx="155575" cy="134938"/>
            </a:xfrm>
            <a:custGeom>
              <a:avLst/>
              <a:gdLst>
                <a:gd name="T0" fmla="*/ 6 w 294"/>
                <a:gd name="T1" fmla="*/ 70 h 254"/>
                <a:gd name="T2" fmla="*/ 0 w 294"/>
                <a:gd name="T3" fmla="*/ 113 h 254"/>
                <a:gd name="T4" fmla="*/ 49 w 294"/>
                <a:gd name="T5" fmla="*/ 133 h 254"/>
                <a:gd name="T6" fmla="*/ 47 w 294"/>
                <a:gd name="T7" fmla="*/ 254 h 254"/>
                <a:gd name="T8" fmla="*/ 96 w 294"/>
                <a:gd name="T9" fmla="*/ 253 h 254"/>
                <a:gd name="T10" fmla="*/ 144 w 294"/>
                <a:gd name="T11" fmla="*/ 217 h 254"/>
                <a:gd name="T12" fmla="*/ 162 w 294"/>
                <a:gd name="T13" fmla="*/ 214 h 254"/>
                <a:gd name="T14" fmla="*/ 271 w 294"/>
                <a:gd name="T15" fmla="*/ 126 h 254"/>
                <a:gd name="T16" fmla="*/ 294 w 294"/>
                <a:gd name="T17" fmla="*/ 0 h 254"/>
                <a:gd name="T18" fmla="*/ 74 w 294"/>
                <a:gd name="T19" fmla="*/ 23 h 254"/>
                <a:gd name="T20" fmla="*/ 51 w 294"/>
                <a:gd name="T21" fmla="*/ 72 h 254"/>
                <a:gd name="T22" fmla="*/ 6 w 294"/>
                <a:gd name="T23" fmla="*/ 7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4" h="254">
                  <a:moveTo>
                    <a:pt x="6" y="70"/>
                  </a:moveTo>
                  <a:lnTo>
                    <a:pt x="0" y="113"/>
                  </a:lnTo>
                  <a:lnTo>
                    <a:pt x="49" y="133"/>
                  </a:lnTo>
                  <a:lnTo>
                    <a:pt x="47" y="254"/>
                  </a:lnTo>
                  <a:lnTo>
                    <a:pt x="96" y="253"/>
                  </a:lnTo>
                  <a:lnTo>
                    <a:pt x="144" y="217"/>
                  </a:lnTo>
                  <a:lnTo>
                    <a:pt x="162" y="214"/>
                  </a:lnTo>
                  <a:lnTo>
                    <a:pt x="271" y="126"/>
                  </a:lnTo>
                  <a:lnTo>
                    <a:pt x="294" y="0"/>
                  </a:lnTo>
                  <a:lnTo>
                    <a:pt x="74" y="23"/>
                  </a:lnTo>
                  <a:lnTo>
                    <a:pt x="51" y="72"/>
                  </a:lnTo>
                  <a:lnTo>
                    <a:pt x="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293"/>
            <p:cNvSpPr>
              <a:spLocks/>
            </p:cNvSpPr>
            <p:nvPr/>
          </p:nvSpPr>
          <p:spPr bwMode="auto">
            <a:xfrm>
              <a:off x="5230813" y="2562225"/>
              <a:ext cx="252413" cy="227013"/>
            </a:xfrm>
            <a:custGeom>
              <a:avLst/>
              <a:gdLst>
                <a:gd name="T0" fmla="*/ 137 w 477"/>
                <a:gd name="T1" fmla="*/ 13 h 429"/>
                <a:gd name="T2" fmla="*/ 111 w 477"/>
                <a:gd name="T3" fmla="*/ 146 h 429"/>
                <a:gd name="T4" fmla="*/ 0 w 477"/>
                <a:gd name="T5" fmla="*/ 238 h 429"/>
                <a:gd name="T6" fmla="*/ 7 w 477"/>
                <a:gd name="T7" fmla="*/ 281 h 429"/>
                <a:gd name="T8" fmla="*/ 115 w 477"/>
                <a:gd name="T9" fmla="*/ 288 h 429"/>
                <a:gd name="T10" fmla="*/ 287 w 477"/>
                <a:gd name="T11" fmla="*/ 429 h 429"/>
                <a:gd name="T12" fmla="*/ 383 w 477"/>
                <a:gd name="T13" fmla="*/ 427 h 429"/>
                <a:gd name="T14" fmla="*/ 386 w 477"/>
                <a:gd name="T15" fmla="*/ 394 h 429"/>
                <a:gd name="T16" fmla="*/ 421 w 477"/>
                <a:gd name="T17" fmla="*/ 356 h 429"/>
                <a:gd name="T18" fmla="*/ 470 w 477"/>
                <a:gd name="T19" fmla="*/ 384 h 429"/>
                <a:gd name="T20" fmla="*/ 477 w 477"/>
                <a:gd name="T21" fmla="*/ 378 h 429"/>
                <a:gd name="T22" fmla="*/ 382 w 477"/>
                <a:gd name="T23" fmla="*/ 251 h 429"/>
                <a:gd name="T24" fmla="*/ 336 w 477"/>
                <a:gd name="T25" fmla="*/ 248 h 429"/>
                <a:gd name="T26" fmla="*/ 276 w 477"/>
                <a:gd name="T27" fmla="*/ 171 h 429"/>
                <a:gd name="T28" fmla="*/ 288 w 477"/>
                <a:gd name="T29" fmla="*/ 114 h 429"/>
                <a:gd name="T30" fmla="*/ 306 w 477"/>
                <a:gd name="T31" fmla="*/ 112 h 429"/>
                <a:gd name="T32" fmla="*/ 313 w 477"/>
                <a:gd name="T33" fmla="*/ 86 h 429"/>
                <a:gd name="T34" fmla="*/ 230 w 477"/>
                <a:gd name="T35" fmla="*/ 0 h 429"/>
                <a:gd name="T36" fmla="*/ 137 w 477"/>
                <a:gd name="T37" fmla="*/ 1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7" h="429">
                  <a:moveTo>
                    <a:pt x="137" y="13"/>
                  </a:moveTo>
                  <a:lnTo>
                    <a:pt x="111" y="146"/>
                  </a:lnTo>
                  <a:lnTo>
                    <a:pt x="0" y="238"/>
                  </a:lnTo>
                  <a:lnTo>
                    <a:pt x="7" y="281"/>
                  </a:lnTo>
                  <a:lnTo>
                    <a:pt x="115" y="288"/>
                  </a:lnTo>
                  <a:lnTo>
                    <a:pt x="287" y="429"/>
                  </a:lnTo>
                  <a:lnTo>
                    <a:pt x="383" y="427"/>
                  </a:lnTo>
                  <a:lnTo>
                    <a:pt x="386" y="394"/>
                  </a:lnTo>
                  <a:lnTo>
                    <a:pt x="421" y="356"/>
                  </a:lnTo>
                  <a:lnTo>
                    <a:pt x="470" y="384"/>
                  </a:lnTo>
                  <a:lnTo>
                    <a:pt x="477" y="378"/>
                  </a:lnTo>
                  <a:lnTo>
                    <a:pt x="382" y="251"/>
                  </a:lnTo>
                  <a:lnTo>
                    <a:pt x="336" y="248"/>
                  </a:lnTo>
                  <a:lnTo>
                    <a:pt x="276" y="171"/>
                  </a:lnTo>
                  <a:lnTo>
                    <a:pt x="288" y="114"/>
                  </a:lnTo>
                  <a:lnTo>
                    <a:pt x="306" y="112"/>
                  </a:lnTo>
                  <a:lnTo>
                    <a:pt x="313" y="86"/>
                  </a:lnTo>
                  <a:lnTo>
                    <a:pt x="230" y="0"/>
                  </a:lnTo>
                  <a:lnTo>
                    <a:pt x="13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294"/>
            <p:cNvSpPr>
              <a:spLocks/>
            </p:cNvSpPr>
            <p:nvPr/>
          </p:nvSpPr>
          <p:spPr bwMode="auto">
            <a:xfrm>
              <a:off x="5140325" y="2692400"/>
              <a:ext cx="87313" cy="109538"/>
            </a:xfrm>
            <a:custGeom>
              <a:avLst/>
              <a:gdLst>
                <a:gd name="T0" fmla="*/ 44 w 166"/>
                <a:gd name="T1" fmla="*/ 38 h 208"/>
                <a:gd name="T2" fmla="*/ 1 w 166"/>
                <a:gd name="T3" fmla="*/ 186 h 208"/>
                <a:gd name="T4" fmla="*/ 0 w 166"/>
                <a:gd name="T5" fmla="*/ 208 h 208"/>
                <a:gd name="T6" fmla="*/ 66 w 166"/>
                <a:gd name="T7" fmla="*/ 208 h 208"/>
                <a:gd name="T8" fmla="*/ 140 w 166"/>
                <a:gd name="T9" fmla="*/ 143 h 208"/>
                <a:gd name="T10" fmla="*/ 143 w 166"/>
                <a:gd name="T11" fmla="*/ 118 h 208"/>
                <a:gd name="T12" fmla="*/ 112 w 166"/>
                <a:gd name="T13" fmla="*/ 87 h 208"/>
                <a:gd name="T14" fmla="*/ 166 w 166"/>
                <a:gd name="T15" fmla="*/ 41 h 208"/>
                <a:gd name="T16" fmla="*/ 159 w 166"/>
                <a:gd name="T17" fmla="*/ 0 h 208"/>
                <a:gd name="T18" fmla="*/ 144 w 166"/>
                <a:gd name="T19" fmla="*/ 3 h 208"/>
                <a:gd name="T20" fmla="*/ 98 w 166"/>
                <a:gd name="T21" fmla="*/ 35 h 208"/>
                <a:gd name="T22" fmla="*/ 44 w 166"/>
                <a:gd name="T23" fmla="*/ 3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208">
                  <a:moveTo>
                    <a:pt x="44" y="38"/>
                  </a:moveTo>
                  <a:lnTo>
                    <a:pt x="1" y="186"/>
                  </a:lnTo>
                  <a:lnTo>
                    <a:pt x="0" y="208"/>
                  </a:lnTo>
                  <a:lnTo>
                    <a:pt x="66" y="208"/>
                  </a:lnTo>
                  <a:lnTo>
                    <a:pt x="140" y="143"/>
                  </a:lnTo>
                  <a:lnTo>
                    <a:pt x="143" y="118"/>
                  </a:lnTo>
                  <a:lnTo>
                    <a:pt x="112" y="87"/>
                  </a:lnTo>
                  <a:lnTo>
                    <a:pt x="166" y="41"/>
                  </a:lnTo>
                  <a:lnTo>
                    <a:pt x="159" y="0"/>
                  </a:lnTo>
                  <a:lnTo>
                    <a:pt x="144" y="3"/>
                  </a:lnTo>
                  <a:lnTo>
                    <a:pt x="98" y="35"/>
                  </a:lnTo>
                  <a:lnTo>
                    <a:pt x="44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295"/>
            <p:cNvSpPr>
              <a:spLocks/>
            </p:cNvSpPr>
            <p:nvPr/>
          </p:nvSpPr>
          <p:spPr bwMode="auto">
            <a:xfrm>
              <a:off x="5132388" y="2636838"/>
              <a:ext cx="26988" cy="47625"/>
            </a:xfrm>
            <a:custGeom>
              <a:avLst/>
              <a:gdLst>
                <a:gd name="T0" fmla="*/ 12 w 51"/>
                <a:gd name="T1" fmla="*/ 0 h 89"/>
                <a:gd name="T2" fmla="*/ 13 w 51"/>
                <a:gd name="T3" fmla="*/ 34 h 89"/>
                <a:gd name="T4" fmla="*/ 0 w 51"/>
                <a:gd name="T5" fmla="*/ 85 h 89"/>
                <a:gd name="T6" fmla="*/ 48 w 51"/>
                <a:gd name="T7" fmla="*/ 89 h 89"/>
                <a:gd name="T8" fmla="*/ 51 w 51"/>
                <a:gd name="T9" fmla="*/ 17 h 89"/>
                <a:gd name="T10" fmla="*/ 12 w 51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89">
                  <a:moveTo>
                    <a:pt x="12" y="0"/>
                  </a:moveTo>
                  <a:lnTo>
                    <a:pt x="13" y="34"/>
                  </a:lnTo>
                  <a:lnTo>
                    <a:pt x="0" y="85"/>
                  </a:lnTo>
                  <a:lnTo>
                    <a:pt x="48" y="89"/>
                  </a:lnTo>
                  <a:lnTo>
                    <a:pt x="51" y="17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296"/>
            <p:cNvSpPr>
              <a:spLocks/>
            </p:cNvSpPr>
            <p:nvPr/>
          </p:nvSpPr>
          <p:spPr bwMode="auto">
            <a:xfrm>
              <a:off x="5116513" y="2687638"/>
              <a:ext cx="39688" cy="101600"/>
            </a:xfrm>
            <a:custGeom>
              <a:avLst/>
              <a:gdLst>
                <a:gd name="T0" fmla="*/ 27 w 75"/>
                <a:gd name="T1" fmla="*/ 0 h 190"/>
                <a:gd name="T2" fmla="*/ 0 w 75"/>
                <a:gd name="T3" fmla="*/ 86 h 190"/>
                <a:gd name="T4" fmla="*/ 34 w 75"/>
                <a:gd name="T5" fmla="*/ 190 h 190"/>
                <a:gd name="T6" fmla="*/ 75 w 75"/>
                <a:gd name="T7" fmla="*/ 38 h 190"/>
                <a:gd name="T8" fmla="*/ 75 w 75"/>
                <a:gd name="T9" fmla="*/ 6 h 190"/>
                <a:gd name="T10" fmla="*/ 27 w 75"/>
                <a:gd name="T11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90">
                  <a:moveTo>
                    <a:pt x="27" y="0"/>
                  </a:moveTo>
                  <a:lnTo>
                    <a:pt x="0" y="86"/>
                  </a:lnTo>
                  <a:lnTo>
                    <a:pt x="34" y="190"/>
                  </a:lnTo>
                  <a:lnTo>
                    <a:pt x="75" y="38"/>
                  </a:lnTo>
                  <a:lnTo>
                    <a:pt x="75" y="6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297"/>
            <p:cNvSpPr>
              <a:spLocks/>
            </p:cNvSpPr>
            <p:nvPr/>
          </p:nvSpPr>
          <p:spPr bwMode="auto">
            <a:xfrm>
              <a:off x="5059363" y="2614613"/>
              <a:ext cx="63500" cy="39688"/>
            </a:xfrm>
            <a:custGeom>
              <a:avLst/>
              <a:gdLst>
                <a:gd name="T0" fmla="*/ 99 w 120"/>
                <a:gd name="T1" fmla="*/ 0 h 77"/>
                <a:gd name="T2" fmla="*/ 120 w 120"/>
                <a:gd name="T3" fmla="*/ 15 h 77"/>
                <a:gd name="T4" fmla="*/ 54 w 120"/>
                <a:gd name="T5" fmla="*/ 77 h 77"/>
                <a:gd name="T6" fmla="*/ 24 w 120"/>
                <a:gd name="T7" fmla="*/ 75 h 77"/>
                <a:gd name="T8" fmla="*/ 0 w 120"/>
                <a:gd name="T9" fmla="*/ 58 h 77"/>
                <a:gd name="T10" fmla="*/ 3 w 120"/>
                <a:gd name="T11" fmla="*/ 29 h 77"/>
                <a:gd name="T12" fmla="*/ 51 w 120"/>
                <a:gd name="T13" fmla="*/ 26 h 77"/>
                <a:gd name="T14" fmla="*/ 99 w 120"/>
                <a:gd name="T1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77">
                  <a:moveTo>
                    <a:pt x="99" y="0"/>
                  </a:moveTo>
                  <a:lnTo>
                    <a:pt x="120" y="15"/>
                  </a:lnTo>
                  <a:lnTo>
                    <a:pt x="54" y="77"/>
                  </a:lnTo>
                  <a:lnTo>
                    <a:pt x="24" y="75"/>
                  </a:lnTo>
                  <a:lnTo>
                    <a:pt x="0" y="58"/>
                  </a:lnTo>
                  <a:lnTo>
                    <a:pt x="3" y="29"/>
                  </a:lnTo>
                  <a:lnTo>
                    <a:pt x="51" y="26"/>
                  </a:lnTo>
                  <a:lnTo>
                    <a:pt x="9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298"/>
            <p:cNvSpPr>
              <a:spLocks/>
            </p:cNvSpPr>
            <p:nvPr/>
          </p:nvSpPr>
          <p:spPr bwMode="auto">
            <a:xfrm>
              <a:off x="4403725" y="1381125"/>
              <a:ext cx="474663" cy="515938"/>
            </a:xfrm>
            <a:custGeom>
              <a:avLst/>
              <a:gdLst>
                <a:gd name="T0" fmla="*/ 864 w 898"/>
                <a:gd name="T1" fmla="*/ 142 h 974"/>
                <a:gd name="T2" fmla="*/ 898 w 898"/>
                <a:gd name="T3" fmla="*/ 117 h 974"/>
                <a:gd name="T4" fmla="*/ 895 w 898"/>
                <a:gd name="T5" fmla="*/ 88 h 974"/>
                <a:gd name="T6" fmla="*/ 873 w 898"/>
                <a:gd name="T7" fmla="*/ 75 h 974"/>
                <a:gd name="T8" fmla="*/ 876 w 898"/>
                <a:gd name="T9" fmla="*/ 40 h 974"/>
                <a:gd name="T10" fmla="*/ 895 w 898"/>
                <a:gd name="T11" fmla="*/ 40 h 974"/>
                <a:gd name="T12" fmla="*/ 895 w 898"/>
                <a:gd name="T13" fmla="*/ 22 h 974"/>
                <a:gd name="T14" fmla="*/ 813 w 898"/>
                <a:gd name="T15" fmla="*/ 0 h 974"/>
                <a:gd name="T16" fmla="*/ 691 w 898"/>
                <a:gd name="T17" fmla="*/ 12 h 974"/>
                <a:gd name="T18" fmla="*/ 678 w 898"/>
                <a:gd name="T19" fmla="*/ 66 h 974"/>
                <a:gd name="T20" fmla="*/ 649 w 898"/>
                <a:gd name="T21" fmla="*/ 57 h 974"/>
                <a:gd name="T22" fmla="*/ 631 w 898"/>
                <a:gd name="T23" fmla="*/ 25 h 974"/>
                <a:gd name="T24" fmla="*/ 571 w 898"/>
                <a:gd name="T25" fmla="*/ 28 h 974"/>
                <a:gd name="T26" fmla="*/ 565 w 898"/>
                <a:gd name="T27" fmla="*/ 88 h 974"/>
                <a:gd name="T28" fmla="*/ 537 w 898"/>
                <a:gd name="T29" fmla="*/ 100 h 974"/>
                <a:gd name="T30" fmla="*/ 521 w 898"/>
                <a:gd name="T31" fmla="*/ 69 h 974"/>
                <a:gd name="T32" fmla="*/ 396 w 898"/>
                <a:gd name="T33" fmla="*/ 170 h 974"/>
                <a:gd name="T34" fmla="*/ 420 w 898"/>
                <a:gd name="T35" fmla="*/ 199 h 974"/>
                <a:gd name="T36" fmla="*/ 373 w 898"/>
                <a:gd name="T37" fmla="*/ 221 h 974"/>
                <a:gd name="T38" fmla="*/ 267 w 898"/>
                <a:gd name="T39" fmla="*/ 433 h 974"/>
                <a:gd name="T40" fmla="*/ 229 w 898"/>
                <a:gd name="T41" fmla="*/ 459 h 974"/>
                <a:gd name="T42" fmla="*/ 232 w 898"/>
                <a:gd name="T43" fmla="*/ 477 h 974"/>
                <a:gd name="T44" fmla="*/ 270 w 898"/>
                <a:gd name="T45" fmla="*/ 496 h 974"/>
                <a:gd name="T46" fmla="*/ 260 w 898"/>
                <a:gd name="T47" fmla="*/ 538 h 974"/>
                <a:gd name="T48" fmla="*/ 198 w 898"/>
                <a:gd name="T49" fmla="*/ 534 h 974"/>
                <a:gd name="T50" fmla="*/ 179 w 898"/>
                <a:gd name="T51" fmla="*/ 513 h 974"/>
                <a:gd name="T52" fmla="*/ 138 w 898"/>
                <a:gd name="T53" fmla="*/ 559 h 974"/>
                <a:gd name="T54" fmla="*/ 113 w 898"/>
                <a:gd name="T55" fmla="*/ 579 h 974"/>
                <a:gd name="T56" fmla="*/ 106 w 898"/>
                <a:gd name="T57" fmla="*/ 623 h 974"/>
                <a:gd name="T58" fmla="*/ 84 w 898"/>
                <a:gd name="T59" fmla="*/ 635 h 974"/>
                <a:gd name="T60" fmla="*/ 27 w 898"/>
                <a:gd name="T61" fmla="*/ 649 h 974"/>
                <a:gd name="T62" fmla="*/ 0 w 898"/>
                <a:gd name="T63" fmla="*/ 737 h 974"/>
                <a:gd name="T64" fmla="*/ 18 w 898"/>
                <a:gd name="T65" fmla="*/ 883 h 974"/>
                <a:gd name="T66" fmla="*/ 41 w 898"/>
                <a:gd name="T67" fmla="*/ 949 h 974"/>
                <a:gd name="T68" fmla="*/ 66 w 898"/>
                <a:gd name="T69" fmla="*/ 974 h 974"/>
                <a:gd name="T70" fmla="*/ 122 w 898"/>
                <a:gd name="T71" fmla="*/ 971 h 974"/>
                <a:gd name="T72" fmla="*/ 204 w 898"/>
                <a:gd name="T73" fmla="*/ 892 h 974"/>
                <a:gd name="T74" fmla="*/ 235 w 898"/>
                <a:gd name="T75" fmla="*/ 838 h 974"/>
                <a:gd name="T76" fmla="*/ 245 w 898"/>
                <a:gd name="T77" fmla="*/ 918 h 974"/>
                <a:gd name="T78" fmla="*/ 298 w 898"/>
                <a:gd name="T79" fmla="*/ 822 h 974"/>
                <a:gd name="T80" fmla="*/ 301 w 898"/>
                <a:gd name="T81" fmla="*/ 556 h 974"/>
                <a:gd name="T82" fmla="*/ 344 w 898"/>
                <a:gd name="T83" fmla="*/ 529 h 974"/>
                <a:gd name="T84" fmla="*/ 357 w 898"/>
                <a:gd name="T85" fmla="*/ 383 h 974"/>
                <a:gd name="T86" fmla="*/ 489 w 898"/>
                <a:gd name="T87" fmla="*/ 193 h 974"/>
                <a:gd name="T88" fmla="*/ 552 w 898"/>
                <a:gd name="T89" fmla="*/ 170 h 974"/>
                <a:gd name="T90" fmla="*/ 580 w 898"/>
                <a:gd name="T91" fmla="*/ 136 h 974"/>
                <a:gd name="T92" fmla="*/ 675 w 898"/>
                <a:gd name="T93" fmla="*/ 157 h 974"/>
                <a:gd name="T94" fmla="*/ 722 w 898"/>
                <a:gd name="T95" fmla="*/ 186 h 974"/>
                <a:gd name="T96" fmla="*/ 738 w 898"/>
                <a:gd name="T97" fmla="*/ 107 h 974"/>
                <a:gd name="T98" fmla="*/ 816 w 898"/>
                <a:gd name="T99" fmla="*/ 60 h 974"/>
                <a:gd name="T100" fmla="*/ 864 w 898"/>
                <a:gd name="T101" fmla="*/ 142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98" h="974">
                  <a:moveTo>
                    <a:pt x="864" y="142"/>
                  </a:moveTo>
                  <a:lnTo>
                    <a:pt x="898" y="117"/>
                  </a:lnTo>
                  <a:lnTo>
                    <a:pt x="895" y="88"/>
                  </a:lnTo>
                  <a:lnTo>
                    <a:pt x="873" y="75"/>
                  </a:lnTo>
                  <a:lnTo>
                    <a:pt x="876" y="40"/>
                  </a:lnTo>
                  <a:lnTo>
                    <a:pt x="895" y="40"/>
                  </a:lnTo>
                  <a:lnTo>
                    <a:pt x="895" y="22"/>
                  </a:lnTo>
                  <a:lnTo>
                    <a:pt x="813" y="0"/>
                  </a:lnTo>
                  <a:lnTo>
                    <a:pt x="691" y="12"/>
                  </a:lnTo>
                  <a:lnTo>
                    <a:pt x="678" y="66"/>
                  </a:lnTo>
                  <a:lnTo>
                    <a:pt x="649" y="57"/>
                  </a:lnTo>
                  <a:lnTo>
                    <a:pt x="631" y="25"/>
                  </a:lnTo>
                  <a:lnTo>
                    <a:pt x="571" y="28"/>
                  </a:lnTo>
                  <a:lnTo>
                    <a:pt x="565" y="88"/>
                  </a:lnTo>
                  <a:lnTo>
                    <a:pt x="537" y="100"/>
                  </a:lnTo>
                  <a:lnTo>
                    <a:pt x="521" y="69"/>
                  </a:lnTo>
                  <a:lnTo>
                    <a:pt x="396" y="170"/>
                  </a:lnTo>
                  <a:lnTo>
                    <a:pt x="420" y="199"/>
                  </a:lnTo>
                  <a:lnTo>
                    <a:pt x="373" y="221"/>
                  </a:lnTo>
                  <a:lnTo>
                    <a:pt x="267" y="433"/>
                  </a:lnTo>
                  <a:lnTo>
                    <a:pt x="229" y="459"/>
                  </a:lnTo>
                  <a:lnTo>
                    <a:pt x="232" y="477"/>
                  </a:lnTo>
                  <a:lnTo>
                    <a:pt x="270" y="496"/>
                  </a:lnTo>
                  <a:lnTo>
                    <a:pt x="260" y="538"/>
                  </a:lnTo>
                  <a:lnTo>
                    <a:pt x="198" y="534"/>
                  </a:lnTo>
                  <a:lnTo>
                    <a:pt x="179" y="513"/>
                  </a:lnTo>
                  <a:lnTo>
                    <a:pt x="138" y="559"/>
                  </a:lnTo>
                  <a:lnTo>
                    <a:pt x="113" y="579"/>
                  </a:lnTo>
                  <a:lnTo>
                    <a:pt x="106" y="623"/>
                  </a:lnTo>
                  <a:lnTo>
                    <a:pt x="84" y="635"/>
                  </a:lnTo>
                  <a:lnTo>
                    <a:pt x="27" y="649"/>
                  </a:lnTo>
                  <a:lnTo>
                    <a:pt x="0" y="737"/>
                  </a:lnTo>
                  <a:lnTo>
                    <a:pt x="18" y="883"/>
                  </a:lnTo>
                  <a:lnTo>
                    <a:pt x="41" y="949"/>
                  </a:lnTo>
                  <a:lnTo>
                    <a:pt x="66" y="974"/>
                  </a:lnTo>
                  <a:lnTo>
                    <a:pt x="122" y="971"/>
                  </a:lnTo>
                  <a:lnTo>
                    <a:pt x="204" y="892"/>
                  </a:lnTo>
                  <a:lnTo>
                    <a:pt x="235" y="838"/>
                  </a:lnTo>
                  <a:lnTo>
                    <a:pt x="245" y="918"/>
                  </a:lnTo>
                  <a:lnTo>
                    <a:pt x="298" y="822"/>
                  </a:lnTo>
                  <a:lnTo>
                    <a:pt x="301" y="556"/>
                  </a:lnTo>
                  <a:lnTo>
                    <a:pt x="344" y="529"/>
                  </a:lnTo>
                  <a:lnTo>
                    <a:pt x="357" y="383"/>
                  </a:lnTo>
                  <a:lnTo>
                    <a:pt x="489" y="193"/>
                  </a:lnTo>
                  <a:lnTo>
                    <a:pt x="552" y="170"/>
                  </a:lnTo>
                  <a:lnTo>
                    <a:pt x="580" y="136"/>
                  </a:lnTo>
                  <a:lnTo>
                    <a:pt x="675" y="157"/>
                  </a:lnTo>
                  <a:lnTo>
                    <a:pt x="722" y="186"/>
                  </a:lnTo>
                  <a:lnTo>
                    <a:pt x="738" y="107"/>
                  </a:lnTo>
                  <a:lnTo>
                    <a:pt x="816" y="60"/>
                  </a:lnTo>
                  <a:lnTo>
                    <a:pt x="864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299"/>
            <p:cNvSpPr>
              <a:spLocks/>
            </p:cNvSpPr>
            <p:nvPr/>
          </p:nvSpPr>
          <p:spPr bwMode="auto">
            <a:xfrm>
              <a:off x="4154488" y="1870075"/>
              <a:ext cx="179388" cy="317500"/>
            </a:xfrm>
            <a:custGeom>
              <a:avLst/>
              <a:gdLst>
                <a:gd name="T0" fmla="*/ 148 w 339"/>
                <a:gd name="T1" fmla="*/ 22 h 599"/>
                <a:gd name="T2" fmla="*/ 117 w 339"/>
                <a:gd name="T3" fmla="*/ 70 h 599"/>
                <a:gd name="T4" fmla="*/ 129 w 339"/>
                <a:gd name="T5" fmla="*/ 88 h 599"/>
                <a:gd name="T6" fmla="*/ 201 w 339"/>
                <a:gd name="T7" fmla="*/ 88 h 599"/>
                <a:gd name="T8" fmla="*/ 201 w 339"/>
                <a:gd name="T9" fmla="*/ 120 h 599"/>
                <a:gd name="T10" fmla="*/ 183 w 339"/>
                <a:gd name="T11" fmla="*/ 146 h 599"/>
                <a:gd name="T12" fmla="*/ 195 w 339"/>
                <a:gd name="T13" fmla="*/ 212 h 599"/>
                <a:gd name="T14" fmla="*/ 235 w 339"/>
                <a:gd name="T15" fmla="*/ 291 h 599"/>
                <a:gd name="T16" fmla="*/ 267 w 339"/>
                <a:gd name="T17" fmla="*/ 364 h 599"/>
                <a:gd name="T18" fmla="*/ 318 w 339"/>
                <a:gd name="T19" fmla="*/ 382 h 599"/>
                <a:gd name="T20" fmla="*/ 339 w 339"/>
                <a:gd name="T21" fmla="*/ 421 h 599"/>
                <a:gd name="T22" fmla="*/ 336 w 339"/>
                <a:gd name="T23" fmla="*/ 455 h 599"/>
                <a:gd name="T24" fmla="*/ 304 w 339"/>
                <a:gd name="T25" fmla="*/ 475 h 599"/>
                <a:gd name="T26" fmla="*/ 301 w 339"/>
                <a:gd name="T27" fmla="*/ 490 h 599"/>
                <a:gd name="T28" fmla="*/ 324 w 339"/>
                <a:gd name="T29" fmla="*/ 503 h 599"/>
                <a:gd name="T30" fmla="*/ 304 w 339"/>
                <a:gd name="T31" fmla="*/ 529 h 599"/>
                <a:gd name="T32" fmla="*/ 261 w 339"/>
                <a:gd name="T33" fmla="*/ 548 h 599"/>
                <a:gd name="T34" fmla="*/ 176 w 339"/>
                <a:gd name="T35" fmla="*/ 538 h 599"/>
                <a:gd name="T36" fmla="*/ 44 w 339"/>
                <a:gd name="T37" fmla="*/ 599 h 599"/>
                <a:gd name="T38" fmla="*/ 0 w 339"/>
                <a:gd name="T39" fmla="*/ 576 h 599"/>
                <a:gd name="T40" fmla="*/ 126 w 339"/>
                <a:gd name="T41" fmla="*/ 503 h 599"/>
                <a:gd name="T42" fmla="*/ 110 w 339"/>
                <a:gd name="T43" fmla="*/ 494 h 599"/>
                <a:gd name="T44" fmla="*/ 44 w 339"/>
                <a:gd name="T45" fmla="*/ 488 h 599"/>
                <a:gd name="T46" fmla="*/ 84 w 339"/>
                <a:gd name="T47" fmla="*/ 427 h 599"/>
                <a:gd name="T48" fmla="*/ 91 w 339"/>
                <a:gd name="T49" fmla="*/ 376 h 599"/>
                <a:gd name="T50" fmla="*/ 144 w 339"/>
                <a:gd name="T51" fmla="*/ 370 h 599"/>
                <a:gd name="T52" fmla="*/ 135 w 339"/>
                <a:gd name="T53" fmla="*/ 272 h 599"/>
                <a:gd name="T54" fmla="*/ 72 w 339"/>
                <a:gd name="T55" fmla="*/ 269 h 599"/>
                <a:gd name="T56" fmla="*/ 54 w 339"/>
                <a:gd name="T57" fmla="*/ 247 h 599"/>
                <a:gd name="T58" fmla="*/ 57 w 339"/>
                <a:gd name="T59" fmla="*/ 174 h 599"/>
                <a:gd name="T60" fmla="*/ 19 w 339"/>
                <a:gd name="T61" fmla="*/ 177 h 599"/>
                <a:gd name="T62" fmla="*/ 57 w 339"/>
                <a:gd name="T63" fmla="*/ 50 h 599"/>
                <a:gd name="T64" fmla="*/ 126 w 339"/>
                <a:gd name="T65" fmla="*/ 0 h 599"/>
                <a:gd name="T66" fmla="*/ 148 w 339"/>
                <a:gd name="T67" fmla="*/ 22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9" h="599">
                  <a:moveTo>
                    <a:pt x="148" y="22"/>
                  </a:moveTo>
                  <a:lnTo>
                    <a:pt x="117" y="70"/>
                  </a:lnTo>
                  <a:lnTo>
                    <a:pt x="129" y="88"/>
                  </a:lnTo>
                  <a:lnTo>
                    <a:pt x="201" y="88"/>
                  </a:lnTo>
                  <a:lnTo>
                    <a:pt x="201" y="120"/>
                  </a:lnTo>
                  <a:lnTo>
                    <a:pt x="183" y="146"/>
                  </a:lnTo>
                  <a:lnTo>
                    <a:pt x="195" y="212"/>
                  </a:lnTo>
                  <a:lnTo>
                    <a:pt x="235" y="291"/>
                  </a:lnTo>
                  <a:lnTo>
                    <a:pt x="267" y="364"/>
                  </a:lnTo>
                  <a:lnTo>
                    <a:pt x="318" y="382"/>
                  </a:lnTo>
                  <a:lnTo>
                    <a:pt x="339" y="421"/>
                  </a:lnTo>
                  <a:lnTo>
                    <a:pt x="336" y="455"/>
                  </a:lnTo>
                  <a:lnTo>
                    <a:pt x="304" y="475"/>
                  </a:lnTo>
                  <a:lnTo>
                    <a:pt x="301" y="490"/>
                  </a:lnTo>
                  <a:lnTo>
                    <a:pt x="324" y="503"/>
                  </a:lnTo>
                  <a:lnTo>
                    <a:pt x="304" y="529"/>
                  </a:lnTo>
                  <a:lnTo>
                    <a:pt x="261" y="548"/>
                  </a:lnTo>
                  <a:lnTo>
                    <a:pt x="176" y="538"/>
                  </a:lnTo>
                  <a:lnTo>
                    <a:pt x="44" y="599"/>
                  </a:lnTo>
                  <a:lnTo>
                    <a:pt x="0" y="576"/>
                  </a:lnTo>
                  <a:lnTo>
                    <a:pt x="126" y="503"/>
                  </a:lnTo>
                  <a:lnTo>
                    <a:pt x="110" y="494"/>
                  </a:lnTo>
                  <a:lnTo>
                    <a:pt x="44" y="488"/>
                  </a:lnTo>
                  <a:lnTo>
                    <a:pt x="84" y="427"/>
                  </a:lnTo>
                  <a:lnTo>
                    <a:pt x="91" y="376"/>
                  </a:lnTo>
                  <a:lnTo>
                    <a:pt x="144" y="370"/>
                  </a:lnTo>
                  <a:lnTo>
                    <a:pt x="135" y="272"/>
                  </a:lnTo>
                  <a:lnTo>
                    <a:pt x="72" y="269"/>
                  </a:lnTo>
                  <a:lnTo>
                    <a:pt x="54" y="247"/>
                  </a:lnTo>
                  <a:lnTo>
                    <a:pt x="57" y="174"/>
                  </a:lnTo>
                  <a:lnTo>
                    <a:pt x="19" y="177"/>
                  </a:lnTo>
                  <a:lnTo>
                    <a:pt x="57" y="50"/>
                  </a:lnTo>
                  <a:lnTo>
                    <a:pt x="126" y="0"/>
                  </a:lnTo>
                  <a:lnTo>
                    <a:pt x="14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300"/>
            <p:cNvSpPr>
              <a:spLocks/>
            </p:cNvSpPr>
            <p:nvPr/>
          </p:nvSpPr>
          <p:spPr bwMode="auto">
            <a:xfrm>
              <a:off x="4130675" y="1993900"/>
              <a:ext cx="50800" cy="42863"/>
            </a:xfrm>
            <a:custGeom>
              <a:avLst/>
              <a:gdLst>
                <a:gd name="T0" fmla="*/ 60 w 95"/>
                <a:gd name="T1" fmla="*/ 0 h 82"/>
                <a:gd name="T2" fmla="*/ 3 w 95"/>
                <a:gd name="T3" fmla="*/ 6 h 82"/>
                <a:gd name="T4" fmla="*/ 0 w 95"/>
                <a:gd name="T5" fmla="*/ 57 h 82"/>
                <a:gd name="T6" fmla="*/ 38 w 95"/>
                <a:gd name="T7" fmla="*/ 82 h 82"/>
                <a:gd name="T8" fmla="*/ 78 w 95"/>
                <a:gd name="T9" fmla="*/ 73 h 82"/>
                <a:gd name="T10" fmla="*/ 95 w 95"/>
                <a:gd name="T11" fmla="*/ 45 h 82"/>
                <a:gd name="T12" fmla="*/ 60 w 95"/>
                <a:gd name="T1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82">
                  <a:moveTo>
                    <a:pt x="60" y="0"/>
                  </a:moveTo>
                  <a:lnTo>
                    <a:pt x="3" y="6"/>
                  </a:lnTo>
                  <a:lnTo>
                    <a:pt x="0" y="57"/>
                  </a:lnTo>
                  <a:lnTo>
                    <a:pt x="38" y="82"/>
                  </a:lnTo>
                  <a:lnTo>
                    <a:pt x="78" y="73"/>
                  </a:lnTo>
                  <a:lnTo>
                    <a:pt x="95" y="45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301"/>
            <p:cNvSpPr>
              <a:spLocks/>
            </p:cNvSpPr>
            <p:nvPr/>
          </p:nvSpPr>
          <p:spPr bwMode="auto">
            <a:xfrm>
              <a:off x="4051300" y="1995488"/>
              <a:ext cx="120650" cy="125413"/>
            </a:xfrm>
            <a:custGeom>
              <a:avLst/>
              <a:gdLst>
                <a:gd name="T0" fmla="*/ 229 w 229"/>
                <a:gd name="T1" fmla="*/ 85 h 239"/>
                <a:gd name="T2" fmla="*/ 214 w 229"/>
                <a:gd name="T3" fmla="*/ 188 h 239"/>
                <a:gd name="T4" fmla="*/ 76 w 229"/>
                <a:gd name="T5" fmla="*/ 239 h 239"/>
                <a:gd name="T6" fmla="*/ 32 w 229"/>
                <a:gd name="T7" fmla="*/ 239 h 239"/>
                <a:gd name="T8" fmla="*/ 0 w 229"/>
                <a:gd name="T9" fmla="*/ 216 h 239"/>
                <a:gd name="T10" fmla="*/ 0 w 229"/>
                <a:gd name="T11" fmla="*/ 197 h 239"/>
                <a:gd name="T12" fmla="*/ 70 w 229"/>
                <a:gd name="T13" fmla="*/ 153 h 239"/>
                <a:gd name="T14" fmla="*/ 51 w 229"/>
                <a:gd name="T15" fmla="*/ 115 h 239"/>
                <a:gd name="T16" fmla="*/ 54 w 229"/>
                <a:gd name="T17" fmla="*/ 61 h 239"/>
                <a:gd name="T18" fmla="*/ 114 w 229"/>
                <a:gd name="T19" fmla="*/ 64 h 239"/>
                <a:gd name="T20" fmla="*/ 141 w 229"/>
                <a:gd name="T21" fmla="*/ 0 h 239"/>
                <a:gd name="T22" fmla="*/ 137 w 229"/>
                <a:gd name="T23" fmla="*/ 57 h 239"/>
                <a:gd name="T24" fmla="*/ 184 w 229"/>
                <a:gd name="T25" fmla="*/ 94 h 239"/>
                <a:gd name="T26" fmla="*/ 229 w 229"/>
                <a:gd name="T27" fmla="*/ 8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9" h="239">
                  <a:moveTo>
                    <a:pt x="229" y="85"/>
                  </a:moveTo>
                  <a:lnTo>
                    <a:pt x="214" y="188"/>
                  </a:lnTo>
                  <a:lnTo>
                    <a:pt x="76" y="239"/>
                  </a:lnTo>
                  <a:lnTo>
                    <a:pt x="32" y="239"/>
                  </a:lnTo>
                  <a:lnTo>
                    <a:pt x="0" y="216"/>
                  </a:lnTo>
                  <a:lnTo>
                    <a:pt x="0" y="197"/>
                  </a:lnTo>
                  <a:lnTo>
                    <a:pt x="70" y="153"/>
                  </a:lnTo>
                  <a:lnTo>
                    <a:pt x="51" y="115"/>
                  </a:lnTo>
                  <a:lnTo>
                    <a:pt x="54" y="61"/>
                  </a:lnTo>
                  <a:lnTo>
                    <a:pt x="114" y="64"/>
                  </a:lnTo>
                  <a:lnTo>
                    <a:pt x="141" y="0"/>
                  </a:lnTo>
                  <a:lnTo>
                    <a:pt x="137" y="57"/>
                  </a:lnTo>
                  <a:lnTo>
                    <a:pt x="184" y="94"/>
                  </a:lnTo>
                  <a:lnTo>
                    <a:pt x="229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302"/>
            <p:cNvSpPr>
              <a:spLocks/>
            </p:cNvSpPr>
            <p:nvPr/>
          </p:nvSpPr>
          <p:spPr bwMode="auto">
            <a:xfrm>
              <a:off x="4535488" y="1477963"/>
              <a:ext cx="238125" cy="514350"/>
            </a:xfrm>
            <a:custGeom>
              <a:avLst/>
              <a:gdLst>
                <a:gd name="T0" fmla="*/ 311 w 452"/>
                <a:gd name="T1" fmla="*/ 0 h 971"/>
                <a:gd name="T2" fmla="*/ 345 w 452"/>
                <a:gd name="T3" fmla="*/ 31 h 971"/>
                <a:gd name="T4" fmla="*/ 408 w 452"/>
                <a:gd name="T5" fmla="*/ 31 h 971"/>
                <a:gd name="T6" fmla="*/ 442 w 452"/>
                <a:gd name="T7" fmla="*/ 97 h 971"/>
                <a:gd name="T8" fmla="*/ 452 w 452"/>
                <a:gd name="T9" fmla="*/ 211 h 971"/>
                <a:gd name="T10" fmla="*/ 367 w 452"/>
                <a:gd name="T11" fmla="*/ 272 h 971"/>
                <a:gd name="T12" fmla="*/ 367 w 452"/>
                <a:gd name="T13" fmla="*/ 332 h 971"/>
                <a:gd name="T14" fmla="*/ 307 w 452"/>
                <a:gd name="T15" fmla="*/ 414 h 971"/>
                <a:gd name="T16" fmla="*/ 273 w 452"/>
                <a:gd name="T17" fmla="*/ 417 h 971"/>
                <a:gd name="T18" fmla="*/ 226 w 452"/>
                <a:gd name="T19" fmla="*/ 496 h 971"/>
                <a:gd name="T20" fmla="*/ 229 w 452"/>
                <a:gd name="T21" fmla="*/ 572 h 971"/>
                <a:gd name="T22" fmla="*/ 310 w 452"/>
                <a:gd name="T23" fmla="*/ 632 h 971"/>
                <a:gd name="T24" fmla="*/ 304 w 452"/>
                <a:gd name="T25" fmla="*/ 667 h 971"/>
                <a:gd name="T26" fmla="*/ 273 w 452"/>
                <a:gd name="T27" fmla="*/ 714 h 971"/>
                <a:gd name="T28" fmla="*/ 226 w 452"/>
                <a:gd name="T29" fmla="*/ 756 h 971"/>
                <a:gd name="T30" fmla="*/ 229 w 452"/>
                <a:gd name="T31" fmla="*/ 892 h 971"/>
                <a:gd name="T32" fmla="*/ 157 w 452"/>
                <a:gd name="T33" fmla="*/ 917 h 971"/>
                <a:gd name="T34" fmla="*/ 132 w 452"/>
                <a:gd name="T35" fmla="*/ 971 h 971"/>
                <a:gd name="T36" fmla="*/ 97 w 452"/>
                <a:gd name="T37" fmla="*/ 971 h 971"/>
                <a:gd name="T38" fmla="*/ 78 w 452"/>
                <a:gd name="T39" fmla="*/ 876 h 971"/>
                <a:gd name="T40" fmla="*/ 0 w 452"/>
                <a:gd name="T41" fmla="*/ 755 h 971"/>
                <a:gd name="T42" fmla="*/ 64 w 452"/>
                <a:gd name="T43" fmla="*/ 647 h 971"/>
                <a:gd name="T44" fmla="*/ 69 w 452"/>
                <a:gd name="T45" fmla="*/ 380 h 971"/>
                <a:gd name="T46" fmla="*/ 113 w 452"/>
                <a:gd name="T47" fmla="*/ 356 h 971"/>
                <a:gd name="T48" fmla="*/ 123 w 452"/>
                <a:gd name="T49" fmla="*/ 203 h 971"/>
                <a:gd name="T50" fmla="*/ 250 w 452"/>
                <a:gd name="T51" fmla="*/ 21 h 971"/>
                <a:gd name="T52" fmla="*/ 311 w 452"/>
                <a:gd name="T53" fmla="*/ 0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2" h="971">
                  <a:moveTo>
                    <a:pt x="311" y="0"/>
                  </a:moveTo>
                  <a:lnTo>
                    <a:pt x="345" y="31"/>
                  </a:lnTo>
                  <a:lnTo>
                    <a:pt x="408" y="31"/>
                  </a:lnTo>
                  <a:lnTo>
                    <a:pt x="442" y="97"/>
                  </a:lnTo>
                  <a:lnTo>
                    <a:pt x="452" y="211"/>
                  </a:lnTo>
                  <a:lnTo>
                    <a:pt x="367" y="272"/>
                  </a:lnTo>
                  <a:lnTo>
                    <a:pt x="367" y="332"/>
                  </a:lnTo>
                  <a:lnTo>
                    <a:pt x="307" y="414"/>
                  </a:lnTo>
                  <a:lnTo>
                    <a:pt x="273" y="417"/>
                  </a:lnTo>
                  <a:lnTo>
                    <a:pt x="226" y="496"/>
                  </a:lnTo>
                  <a:lnTo>
                    <a:pt x="229" y="572"/>
                  </a:lnTo>
                  <a:lnTo>
                    <a:pt x="310" y="632"/>
                  </a:lnTo>
                  <a:lnTo>
                    <a:pt x="304" y="667"/>
                  </a:lnTo>
                  <a:lnTo>
                    <a:pt x="273" y="714"/>
                  </a:lnTo>
                  <a:lnTo>
                    <a:pt x="226" y="756"/>
                  </a:lnTo>
                  <a:lnTo>
                    <a:pt x="229" y="892"/>
                  </a:lnTo>
                  <a:lnTo>
                    <a:pt x="157" y="917"/>
                  </a:lnTo>
                  <a:lnTo>
                    <a:pt x="132" y="971"/>
                  </a:lnTo>
                  <a:lnTo>
                    <a:pt x="97" y="971"/>
                  </a:lnTo>
                  <a:lnTo>
                    <a:pt x="78" y="876"/>
                  </a:lnTo>
                  <a:lnTo>
                    <a:pt x="0" y="755"/>
                  </a:lnTo>
                  <a:lnTo>
                    <a:pt x="64" y="647"/>
                  </a:lnTo>
                  <a:lnTo>
                    <a:pt x="69" y="380"/>
                  </a:lnTo>
                  <a:lnTo>
                    <a:pt x="113" y="356"/>
                  </a:lnTo>
                  <a:lnTo>
                    <a:pt x="123" y="203"/>
                  </a:lnTo>
                  <a:lnTo>
                    <a:pt x="250" y="21"/>
                  </a:lnTo>
                  <a:lnTo>
                    <a:pt x="3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303"/>
            <p:cNvSpPr>
              <a:spLocks/>
            </p:cNvSpPr>
            <p:nvPr/>
          </p:nvSpPr>
          <p:spPr bwMode="auto">
            <a:xfrm>
              <a:off x="4705350" y="1422400"/>
              <a:ext cx="238125" cy="392113"/>
            </a:xfrm>
            <a:custGeom>
              <a:avLst/>
              <a:gdLst>
                <a:gd name="T0" fmla="*/ 145 w 451"/>
                <a:gd name="T1" fmla="*/ 318 h 741"/>
                <a:gd name="T2" fmla="*/ 181 w 451"/>
                <a:gd name="T3" fmla="*/ 333 h 741"/>
                <a:gd name="T4" fmla="*/ 203 w 451"/>
                <a:gd name="T5" fmla="*/ 375 h 741"/>
                <a:gd name="T6" fmla="*/ 181 w 451"/>
                <a:gd name="T7" fmla="*/ 403 h 741"/>
                <a:gd name="T8" fmla="*/ 71 w 451"/>
                <a:gd name="T9" fmla="*/ 523 h 741"/>
                <a:gd name="T10" fmla="*/ 52 w 451"/>
                <a:gd name="T11" fmla="*/ 586 h 741"/>
                <a:gd name="T12" fmla="*/ 77 w 451"/>
                <a:gd name="T13" fmla="*/ 678 h 741"/>
                <a:gd name="T14" fmla="*/ 163 w 451"/>
                <a:gd name="T15" fmla="*/ 741 h 741"/>
                <a:gd name="T16" fmla="*/ 275 w 451"/>
                <a:gd name="T17" fmla="*/ 687 h 741"/>
                <a:gd name="T18" fmla="*/ 367 w 451"/>
                <a:gd name="T19" fmla="*/ 675 h 741"/>
                <a:gd name="T20" fmla="*/ 451 w 451"/>
                <a:gd name="T21" fmla="*/ 539 h 741"/>
                <a:gd name="T22" fmla="*/ 389 w 451"/>
                <a:gd name="T23" fmla="*/ 390 h 741"/>
                <a:gd name="T24" fmla="*/ 329 w 451"/>
                <a:gd name="T25" fmla="*/ 248 h 741"/>
                <a:gd name="T26" fmla="*/ 338 w 451"/>
                <a:gd name="T27" fmla="*/ 155 h 741"/>
                <a:gd name="T28" fmla="*/ 301 w 451"/>
                <a:gd name="T29" fmla="*/ 149 h 741"/>
                <a:gd name="T30" fmla="*/ 291 w 451"/>
                <a:gd name="T31" fmla="*/ 82 h 741"/>
                <a:gd name="T32" fmla="*/ 240 w 451"/>
                <a:gd name="T33" fmla="*/ 0 h 741"/>
                <a:gd name="T34" fmla="*/ 184 w 451"/>
                <a:gd name="T35" fmla="*/ 39 h 741"/>
                <a:gd name="T36" fmla="*/ 162 w 451"/>
                <a:gd name="T37" fmla="*/ 129 h 741"/>
                <a:gd name="T38" fmla="*/ 102 w 451"/>
                <a:gd name="T39" fmla="*/ 92 h 741"/>
                <a:gd name="T40" fmla="*/ 20 w 451"/>
                <a:gd name="T41" fmla="*/ 73 h 741"/>
                <a:gd name="T42" fmla="*/ 0 w 451"/>
                <a:gd name="T43" fmla="*/ 94 h 741"/>
                <a:gd name="T44" fmla="*/ 33 w 451"/>
                <a:gd name="T45" fmla="*/ 123 h 741"/>
                <a:gd name="T46" fmla="*/ 91 w 451"/>
                <a:gd name="T47" fmla="*/ 122 h 741"/>
                <a:gd name="T48" fmla="*/ 137 w 451"/>
                <a:gd name="T49" fmla="*/ 198 h 741"/>
                <a:gd name="T50" fmla="*/ 145 w 451"/>
                <a:gd name="T51" fmla="*/ 318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1" h="741">
                  <a:moveTo>
                    <a:pt x="145" y="318"/>
                  </a:moveTo>
                  <a:lnTo>
                    <a:pt x="181" y="333"/>
                  </a:lnTo>
                  <a:lnTo>
                    <a:pt x="203" y="375"/>
                  </a:lnTo>
                  <a:lnTo>
                    <a:pt x="181" y="403"/>
                  </a:lnTo>
                  <a:lnTo>
                    <a:pt x="71" y="523"/>
                  </a:lnTo>
                  <a:lnTo>
                    <a:pt x="52" y="586"/>
                  </a:lnTo>
                  <a:lnTo>
                    <a:pt x="77" y="678"/>
                  </a:lnTo>
                  <a:lnTo>
                    <a:pt x="163" y="741"/>
                  </a:lnTo>
                  <a:lnTo>
                    <a:pt x="275" y="687"/>
                  </a:lnTo>
                  <a:lnTo>
                    <a:pt x="367" y="675"/>
                  </a:lnTo>
                  <a:lnTo>
                    <a:pt x="451" y="539"/>
                  </a:lnTo>
                  <a:lnTo>
                    <a:pt x="389" y="390"/>
                  </a:lnTo>
                  <a:lnTo>
                    <a:pt x="329" y="248"/>
                  </a:lnTo>
                  <a:lnTo>
                    <a:pt x="338" y="155"/>
                  </a:lnTo>
                  <a:lnTo>
                    <a:pt x="301" y="149"/>
                  </a:lnTo>
                  <a:lnTo>
                    <a:pt x="291" y="82"/>
                  </a:lnTo>
                  <a:lnTo>
                    <a:pt x="240" y="0"/>
                  </a:lnTo>
                  <a:lnTo>
                    <a:pt x="184" y="39"/>
                  </a:lnTo>
                  <a:lnTo>
                    <a:pt x="162" y="129"/>
                  </a:lnTo>
                  <a:lnTo>
                    <a:pt x="102" y="92"/>
                  </a:lnTo>
                  <a:lnTo>
                    <a:pt x="20" y="73"/>
                  </a:lnTo>
                  <a:lnTo>
                    <a:pt x="0" y="94"/>
                  </a:lnTo>
                  <a:lnTo>
                    <a:pt x="33" y="123"/>
                  </a:lnTo>
                  <a:lnTo>
                    <a:pt x="91" y="122"/>
                  </a:lnTo>
                  <a:lnTo>
                    <a:pt x="137" y="198"/>
                  </a:lnTo>
                  <a:lnTo>
                    <a:pt x="145" y="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304"/>
            <p:cNvSpPr>
              <a:spLocks/>
            </p:cNvSpPr>
            <p:nvPr/>
          </p:nvSpPr>
          <p:spPr bwMode="auto">
            <a:xfrm>
              <a:off x="4822825" y="1892300"/>
              <a:ext cx="82550" cy="69850"/>
            </a:xfrm>
            <a:custGeom>
              <a:avLst/>
              <a:gdLst>
                <a:gd name="T0" fmla="*/ 117 w 156"/>
                <a:gd name="T1" fmla="*/ 20 h 132"/>
                <a:gd name="T2" fmla="*/ 0 w 156"/>
                <a:gd name="T3" fmla="*/ 0 h 132"/>
                <a:gd name="T4" fmla="*/ 3 w 156"/>
                <a:gd name="T5" fmla="*/ 65 h 132"/>
                <a:gd name="T6" fmla="*/ 111 w 156"/>
                <a:gd name="T7" fmla="*/ 132 h 132"/>
                <a:gd name="T8" fmla="*/ 156 w 156"/>
                <a:gd name="T9" fmla="*/ 119 h 132"/>
                <a:gd name="T10" fmla="*/ 153 w 156"/>
                <a:gd name="T11" fmla="*/ 69 h 132"/>
                <a:gd name="T12" fmla="*/ 117 w 156"/>
                <a:gd name="T13" fmla="*/ 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32">
                  <a:moveTo>
                    <a:pt x="117" y="20"/>
                  </a:moveTo>
                  <a:lnTo>
                    <a:pt x="0" y="0"/>
                  </a:lnTo>
                  <a:lnTo>
                    <a:pt x="3" y="65"/>
                  </a:lnTo>
                  <a:lnTo>
                    <a:pt x="111" y="132"/>
                  </a:lnTo>
                  <a:lnTo>
                    <a:pt x="156" y="119"/>
                  </a:lnTo>
                  <a:lnTo>
                    <a:pt x="153" y="69"/>
                  </a:lnTo>
                  <a:lnTo>
                    <a:pt x="11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305"/>
            <p:cNvSpPr>
              <a:spLocks/>
            </p:cNvSpPr>
            <p:nvPr/>
          </p:nvSpPr>
          <p:spPr bwMode="auto">
            <a:xfrm>
              <a:off x="4759325" y="1868488"/>
              <a:ext cx="26988" cy="17463"/>
            </a:xfrm>
            <a:custGeom>
              <a:avLst/>
              <a:gdLst>
                <a:gd name="T0" fmla="*/ 41 w 51"/>
                <a:gd name="T1" fmla="*/ 1 h 33"/>
                <a:gd name="T2" fmla="*/ 15 w 51"/>
                <a:gd name="T3" fmla="*/ 0 h 33"/>
                <a:gd name="T4" fmla="*/ 0 w 51"/>
                <a:gd name="T5" fmla="*/ 15 h 33"/>
                <a:gd name="T6" fmla="*/ 11 w 51"/>
                <a:gd name="T7" fmla="*/ 31 h 33"/>
                <a:gd name="T8" fmla="*/ 37 w 51"/>
                <a:gd name="T9" fmla="*/ 33 h 33"/>
                <a:gd name="T10" fmla="*/ 51 w 51"/>
                <a:gd name="T11" fmla="*/ 13 h 33"/>
                <a:gd name="T12" fmla="*/ 41 w 51"/>
                <a:gd name="T13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33">
                  <a:moveTo>
                    <a:pt x="41" y="1"/>
                  </a:moveTo>
                  <a:lnTo>
                    <a:pt x="15" y="0"/>
                  </a:lnTo>
                  <a:lnTo>
                    <a:pt x="0" y="15"/>
                  </a:lnTo>
                  <a:lnTo>
                    <a:pt x="11" y="31"/>
                  </a:lnTo>
                  <a:lnTo>
                    <a:pt x="37" y="33"/>
                  </a:lnTo>
                  <a:lnTo>
                    <a:pt x="51" y="13"/>
                  </a:lnTo>
                  <a:lnTo>
                    <a:pt x="4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306"/>
            <p:cNvSpPr>
              <a:spLocks/>
            </p:cNvSpPr>
            <p:nvPr/>
          </p:nvSpPr>
          <p:spPr bwMode="auto">
            <a:xfrm>
              <a:off x="4741863" y="1905000"/>
              <a:ext cx="53975" cy="46038"/>
            </a:xfrm>
            <a:custGeom>
              <a:avLst/>
              <a:gdLst>
                <a:gd name="T0" fmla="*/ 71 w 102"/>
                <a:gd name="T1" fmla="*/ 3 h 88"/>
                <a:gd name="T2" fmla="*/ 46 w 102"/>
                <a:gd name="T3" fmla="*/ 0 h 88"/>
                <a:gd name="T4" fmla="*/ 0 w 102"/>
                <a:gd name="T5" fmla="*/ 54 h 88"/>
                <a:gd name="T6" fmla="*/ 0 w 102"/>
                <a:gd name="T7" fmla="*/ 81 h 88"/>
                <a:gd name="T8" fmla="*/ 16 w 102"/>
                <a:gd name="T9" fmla="*/ 87 h 88"/>
                <a:gd name="T10" fmla="*/ 45 w 102"/>
                <a:gd name="T11" fmla="*/ 88 h 88"/>
                <a:gd name="T12" fmla="*/ 95 w 102"/>
                <a:gd name="T13" fmla="*/ 47 h 88"/>
                <a:gd name="T14" fmla="*/ 102 w 102"/>
                <a:gd name="T15" fmla="*/ 33 h 88"/>
                <a:gd name="T16" fmla="*/ 71 w 102"/>
                <a:gd name="T17" fmla="*/ 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88">
                  <a:moveTo>
                    <a:pt x="71" y="3"/>
                  </a:moveTo>
                  <a:lnTo>
                    <a:pt x="46" y="0"/>
                  </a:lnTo>
                  <a:lnTo>
                    <a:pt x="0" y="54"/>
                  </a:lnTo>
                  <a:lnTo>
                    <a:pt x="0" y="81"/>
                  </a:lnTo>
                  <a:lnTo>
                    <a:pt x="16" y="87"/>
                  </a:lnTo>
                  <a:lnTo>
                    <a:pt x="45" y="88"/>
                  </a:lnTo>
                  <a:lnTo>
                    <a:pt x="95" y="47"/>
                  </a:lnTo>
                  <a:lnTo>
                    <a:pt x="102" y="33"/>
                  </a:lnTo>
                  <a:lnTo>
                    <a:pt x="7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Freeform 307"/>
            <p:cNvSpPr>
              <a:spLocks/>
            </p:cNvSpPr>
            <p:nvPr/>
          </p:nvSpPr>
          <p:spPr bwMode="auto">
            <a:xfrm>
              <a:off x="4737100" y="1931988"/>
              <a:ext cx="139700" cy="98425"/>
            </a:xfrm>
            <a:custGeom>
              <a:avLst/>
              <a:gdLst>
                <a:gd name="T0" fmla="*/ 153 w 265"/>
                <a:gd name="T1" fmla="*/ 1 h 186"/>
                <a:gd name="T2" fmla="*/ 117 w 265"/>
                <a:gd name="T3" fmla="*/ 0 h 186"/>
                <a:gd name="T4" fmla="*/ 66 w 265"/>
                <a:gd name="T5" fmla="*/ 49 h 186"/>
                <a:gd name="T6" fmla="*/ 24 w 265"/>
                <a:gd name="T7" fmla="*/ 49 h 186"/>
                <a:gd name="T8" fmla="*/ 27 w 265"/>
                <a:gd name="T9" fmla="*/ 109 h 186"/>
                <a:gd name="T10" fmla="*/ 0 w 265"/>
                <a:gd name="T11" fmla="*/ 157 h 186"/>
                <a:gd name="T12" fmla="*/ 93 w 265"/>
                <a:gd name="T13" fmla="*/ 158 h 186"/>
                <a:gd name="T14" fmla="*/ 120 w 265"/>
                <a:gd name="T15" fmla="*/ 154 h 186"/>
                <a:gd name="T16" fmla="*/ 146 w 265"/>
                <a:gd name="T17" fmla="*/ 186 h 186"/>
                <a:gd name="T18" fmla="*/ 207 w 265"/>
                <a:gd name="T19" fmla="*/ 183 h 186"/>
                <a:gd name="T20" fmla="*/ 265 w 265"/>
                <a:gd name="T21" fmla="*/ 109 h 186"/>
                <a:gd name="T22" fmla="*/ 262 w 265"/>
                <a:gd name="T23" fmla="*/ 65 h 186"/>
                <a:gd name="T24" fmla="*/ 153 w 265"/>
                <a:gd name="T25" fmla="*/ 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5" h="186">
                  <a:moveTo>
                    <a:pt x="153" y="1"/>
                  </a:moveTo>
                  <a:lnTo>
                    <a:pt x="117" y="0"/>
                  </a:lnTo>
                  <a:lnTo>
                    <a:pt x="66" y="49"/>
                  </a:lnTo>
                  <a:lnTo>
                    <a:pt x="24" y="49"/>
                  </a:lnTo>
                  <a:lnTo>
                    <a:pt x="27" y="109"/>
                  </a:lnTo>
                  <a:lnTo>
                    <a:pt x="0" y="157"/>
                  </a:lnTo>
                  <a:lnTo>
                    <a:pt x="93" y="158"/>
                  </a:lnTo>
                  <a:lnTo>
                    <a:pt x="120" y="154"/>
                  </a:lnTo>
                  <a:lnTo>
                    <a:pt x="146" y="186"/>
                  </a:lnTo>
                  <a:lnTo>
                    <a:pt x="207" y="183"/>
                  </a:lnTo>
                  <a:lnTo>
                    <a:pt x="265" y="109"/>
                  </a:lnTo>
                  <a:lnTo>
                    <a:pt x="262" y="65"/>
                  </a:lnTo>
                  <a:lnTo>
                    <a:pt x="15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Freeform 308"/>
            <p:cNvSpPr>
              <a:spLocks/>
            </p:cNvSpPr>
            <p:nvPr/>
          </p:nvSpPr>
          <p:spPr bwMode="auto">
            <a:xfrm>
              <a:off x="4816475" y="1962150"/>
              <a:ext cx="193675" cy="146050"/>
            </a:xfrm>
            <a:custGeom>
              <a:avLst/>
              <a:gdLst>
                <a:gd name="T0" fmla="*/ 0 w 364"/>
                <a:gd name="T1" fmla="*/ 143 h 278"/>
                <a:gd name="T2" fmla="*/ 26 w 364"/>
                <a:gd name="T3" fmla="*/ 186 h 278"/>
                <a:gd name="T4" fmla="*/ 16 w 364"/>
                <a:gd name="T5" fmla="*/ 220 h 278"/>
                <a:gd name="T6" fmla="*/ 18 w 364"/>
                <a:gd name="T7" fmla="*/ 247 h 278"/>
                <a:gd name="T8" fmla="*/ 27 w 364"/>
                <a:gd name="T9" fmla="*/ 278 h 278"/>
                <a:gd name="T10" fmla="*/ 80 w 364"/>
                <a:gd name="T11" fmla="*/ 248 h 278"/>
                <a:gd name="T12" fmla="*/ 146 w 364"/>
                <a:gd name="T13" fmla="*/ 250 h 278"/>
                <a:gd name="T14" fmla="*/ 192 w 364"/>
                <a:gd name="T15" fmla="*/ 269 h 278"/>
                <a:gd name="T16" fmla="*/ 309 w 364"/>
                <a:gd name="T17" fmla="*/ 269 h 278"/>
                <a:gd name="T18" fmla="*/ 343 w 364"/>
                <a:gd name="T19" fmla="*/ 187 h 278"/>
                <a:gd name="T20" fmla="*/ 364 w 364"/>
                <a:gd name="T21" fmla="*/ 156 h 278"/>
                <a:gd name="T22" fmla="*/ 364 w 364"/>
                <a:gd name="T23" fmla="*/ 135 h 278"/>
                <a:gd name="T24" fmla="*/ 291 w 364"/>
                <a:gd name="T25" fmla="*/ 32 h 278"/>
                <a:gd name="T26" fmla="*/ 226 w 364"/>
                <a:gd name="T27" fmla="*/ 6 h 278"/>
                <a:gd name="T28" fmla="*/ 172 w 364"/>
                <a:gd name="T29" fmla="*/ 0 h 278"/>
                <a:gd name="T30" fmla="*/ 126 w 364"/>
                <a:gd name="T31" fmla="*/ 14 h 278"/>
                <a:gd name="T32" fmla="*/ 127 w 364"/>
                <a:gd name="T33" fmla="*/ 61 h 278"/>
                <a:gd name="T34" fmla="*/ 63 w 364"/>
                <a:gd name="T35" fmla="*/ 142 h 278"/>
                <a:gd name="T36" fmla="*/ 0 w 364"/>
                <a:gd name="T37" fmla="*/ 143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4" h="278">
                  <a:moveTo>
                    <a:pt x="0" y="143"/>
                  </a:moveTo>
                  <a:lnTo>
                    <a:pt x="26" y="186"/>
                  </a:lnTo>
                  <a:lnTo>
                    <a:pt x="16" y="220"/>
                  </a:lnTo>
                  <a:lnTo>
                    <a:pt x="18" y="247"/>
                  </a:lnTo>
                  <a:lnTo>
                    <a:pt x="27" y="278"/>
                  </a:lnTo>
                  <a:lnTo>
                    <a:pt x="80" y="248"/>
                  </a:lnTo>
                  <a:lnTo>
                    <a:pt x="146" y="250"/>
                  </a:lnTo>
                  <a:lnTo>
                    <a:pt x="192" y="269"/>
                  </a:lnTo>
                  <a:lnTo>
                    <a:pt x="309" y="269"/>
                  </a:lnTo>
                  <a:lnTo>
                    <a:pt x="343" y="187"/>
                  </a:lnTo>
                  <a:lnTo>
                    <a:pt x="364" y="156"/>
                  </a:lnTo>
                  <a:lnTo>
                    <a:pt x="364" y="135"/>
                  </a:lnTo>
                  <a:lnTo>
                    <a:pt x="291" y="32"/>
                  </a:lnTo>
                  <a:lnTo>
                    <a:pt x="226" y="6"/>
                  </a:lnTo>
                  <a:lnTo>
                    <a:pt x="172" y="0"/>
                  </a:lnTo>
                  <a:lnTo>
                    <a:pt x="126" y="14"/>
                  </a:lnTo>
                  <a:lnTo>
                    <a:pt x="127" y="61"/>
                  </a:lnTo>
                  <a:lnTo>
                    <a:pt x="63" y="142"/>
                  </a:lnTo>
                  <a:lnTo>
                    <a:pt x="0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309"/>
            <p:cNvSpPr>
              <a:spLocks/>
            </p:cNvSpPr>
            <p:nvPr/>
          </p:nvSpPr>
          <p:spPr bwMode="auto">
            <a:xfrm>
              <a:off x="4621213" y="2003425"/>
              <a:ext cx="212725" cy="190500"/>
            </a:xfrm>
            <a:custGeom>
              <a:avLst/>
              <a:gdLst>
                <a:gd name="T0" fmla="*/ 383 w 401"/>
                <a:gd name="T1" fmla="*/ 210 h 360"/>
                <a:gd name="T2" fmla="*/ 398 w 401"/>
                <a:gd name="T3" fmla="*/ 237 h 360"/>
                <a:gd name="T4" fmla="*/ 401 w 401"/>
                <a:gd name="T5" fmla="*/ 265 h 360"/>
                <a:gd name="T6" fmla="*/ 389 w 401"/>
                <a:gd name="T7" fmla="*/ 293 h 360"/>
                <a:gd name="T8" fmla="*/ 361 w 401"/>
                <a:gd name="T9" fmla="*/ 346 h 360"/>
                <a:gd name="T10" fmla="*/ 338 w 401"/>
                <a:gd name="T11" fmla="*/ 356 h 360"/>
                <a:gd name="T12" fmla="*/ 309 w 401"/>
                <a:gd name="T13" fmla="*/ 343 h 360"/>
                <a:gd name="T14" fmla="*/ 290 w 401"/>
                <a:gd name="T15" fmla="*/ 344 h 360"/>
                <a:gd name="T16" fmla="*/ 247 w 401"/>
                <a:gd name="T17" fmla="*/ 360 h 360"/>
                <a:gd name="T18" fmla="*/ 197 w 401"/>
                <a:gd name="T19" fmla="*/ 346 h 360"/>
                <a:gd name="T20" fmla="*/ 117 w 401"/>
                <a:gd name="T21" fmla="*/ 289 h 360"/>
                <a:gd name="T22" fmla="*/ 38 w 401"/>
                <a:gd name="T23" fmla="*/ 246 h 360"/>
                <a:gd name="T24" fmla="*/ 6 w 401"/>
                <a:gd name="T25" fmla="*/ 197 h 360"/>
                <a:gd name="T26" fmla="*/ 0 w 401"/>
                <a:gd name="T27" fmla="*/ 84 h 360"/>
                <a:gd name="T28" fmla="*/ 62 w 401"/>
                <a:gd name="T29" fmla="*/ 30 h 360"/>
                <a:gd name="T30" fmla="*/ 142 w 401"/>
                <a:gd name="T31" fmla="*/ 3 h 360"/>
                <a:gd name="T32" fmla="*/ 173 w 401"/>
                <a:gd name="T33" fmla="*/ 0 h 360"/>
                <a:gd name="T34" fmla="*/ 160 w 401"/>
                <a:gd name="T35" fmla="*/ 24 h 360"/>
                <a:gd name="T36" fmla="*/ 167 w 401"/>
                <a:gd name="T37" fmla="*/ 34 h 360"/>
                <a:gd name="T38" fmla="*/ 303 w 401"/>
                <a:gd name="T39" fmla="*/ 36 h 360"/>
                <a:gd name="T40" fmla="*/ 333 w 401"/>
                <a:gd name="T41" fmla="*/ 35 h 360"/>
                <a:gd name="T42" fmla="*/ 381 w 401"/>
                <a:gd name="T43" fmla="*/ 109 h 360"/>
                <a:gd name="T44" fmla="*/ 368 w 401"/>
                <a:gd name="T45" fmla="*/ 138 h 360"/>
                <a:gd name="T46" fmla="*/ 373 w 401"/>
                <a:gd name="T47" fmla="*/ 174 h 360"/>
                <a:gd name="T48" fmla="*/ 383 w 401"/>
                <a:gd name="T49" fmla="*/ 21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1" h="360">
                  <a:moveTo>
                    <a:pt x="383" y="210"/>
                  </a:moveTo>
                  <a:lnTo>
                    <a:pt x="398" y="237"/>
                  </a:lnTo>
                  <a:lnTo>
                    <a:pt x="401" y="265"/>
                  </a:lnTo>
                  <a:lnTo>
                    <a:pt x="389" y="293"/>
                  </a:lnTo>
                  <a:lnTo>
                    <a:pt x="361" y="346"/>
                  </a:lnTo>
                  <a:lnTo>
                    <a:pt x="338" y="356"/>
                  </a:lnTo>
                  <a:lnTo>
                    <a:pt x="309" y="343"/>
                  </a:lnTo>
                  <a:lnTo>
                    <a:pt x="290" y="344"/>
                  </a:lnTo>
                  <a:lnTo>
                    <a:pt x="247" y="360"/>
                  </a:lnTo>
                  <a:lnTo>
                    <a:pt x="197" y="346"/>
                  </a:lnTo>
                  <a:lnTo>
                    <a:pt x="117" y="289"/>
                  </a:lnTo>
                  <a:lnTo>
                    <a:pt x="38" y="246"/>
                  </a:lnTo>
                  <a:lnTo>
                    <a:pt x="6" y="197"/>
                  </a:lnTo>
                  <a:lnTo>
                    <a:pt x="0" y="84"/>
                  </a:lnTo>
                  <a:lnTo>
                    <a:pt x="62" y="30"/>
                  </a:lnTo>
                  <a:lnTo>
                    <a:pt x="142" y="3"/>
                  </a:lnTo>
                  <a:lnTo>
                    <a:pt x="173" y="0"/>
                  </a:lnTo>
                  <a:lnTo>
                    <a:pt x="160" y="24"/>
                  </a:lnTo>
                  <a:lnTo>
                    <a:pt x="167" y="34"/>
                  </a:lnTo>
                  <a:lnTo>
                    <a:pt x="303" y="36"/>
                  </a:lnTo>
                  <a:lnTo>
                    <a:pt x="333" y="35"/>
                  </a:lnTo>
                  <a:lnTo>
                    <a:pt x="381" y="109"/>
                  </a:lnTo>
                  <a:lnTo>
                    <a:pt x="368" y="138"/>
                  </a:lnTo>
                  <a:lnTo>
                    <a:pt x="373" y="174"/>
                  </a:lnTo>
                  <a:lnTo>
                    <a:pt x="383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310"/>
            <p:cNvSpPr>
              <a:spLocks/>
            </p:cNvSpPr>
            <p:nvPr/>
          </p:nvSpPr>
          <p:spPr bwMode="auto">
            <a:xfrm>
              <a:off x="4089400" y="2378075"/>
              <a:ext cx="276225" cy="227013"/>
            </a:xfrm>
            <a:custGeom>
              <a:avLst/>
              <a:gdLst>
                <a:gd name="T0" fmla="*/ 310 w 524"/>
                <a:gd name="T1" fmla="*/ 19 h 430"/>
                <a:gd name="T2" fmla="*/ 92 w 524"/>
                <a:gd name="T3" fmla="*/ 19 h 430"/>
                <a:gd name="T4" fmla="*/ 47 w 524"/>
                <a:gd name="T5" fmla="*/ 0 h 430"/>
                <a:gd name="T6" fmla="*/ 26 w 524"/>
                <a:gd name="T7" fmla="*/ 1 h 430"/>
                <a:gd name="T8" fmla="*/ 0 w 524"/>
                <a:gd name="T9" fmla="*/ 55 h 430"/>
                <a:gd name="T10" fmla="*/ 9 w 524"/>
                <a:gd name="T11" fmla="*/ 110 h 430"/>
                <a:gd name="T12" fmla="*/ 93 w 524"/>
                <a:gd name="T13" fmla="*/ 118 h 430"/>
                <a:gd name="T14" fmla="*/ 104 w 524"/>
                <a:gd name="T15" fmla="*/ 152 h 430"/>
                <a:gd name="T16" fmla="*/ 67 w 524"/>
                <a:gd name="T17" fmla="*/ 357 h 430"/>
                <a:gd name="T18" fmla="*/ 68 w 524"/>
                <a:gd name="T19" fmla="*/ 394 h 430"/>
                <a:gd name="T20" fmla="*/ 127 w 524"/>
                <a:gd name="T21" fmla="*/ 426 h 430"/>
                <a:gd name="T22" fmla="*/ 196 w 524"/>
                <a:gd name="T23" fmla="*/ 430 h 430"/>
                <a:gd name="T24" fmla="*/ 332 w 524"/>
                <a:gd name="T25" fmla="*/ 397 h 430"/>
                <a:gd name="T26" fmla="*/ 399 w 524"/>
                <a:gd name="T27" fmla="*/ 313 h 430"/>
                <a:gd name="T28" fmla="*/ 400 w 524"/>
                <a:gd name="T29" fmla="*/ 227 h 430"/>
                <a:gd name="T30" fmla="*/ 519 w 524"/>
                <a:gd name="T31" fmla="*/ 121 h 430"/>
                <a:gd name="T32" fmla="*/ 524 w 524"/>
                <a:gd name="T33" fmla="*/ 73 h 430"/>
                <a:gd name="T34" fmla="*/ 416 w 524"/>
                <a:gd name="T35" fmla="*/ 72 h 430"/>
                <a:gd name="T36" fmla="*/ 310 w 524"/>
                <a:gd name="T37" fmla="*/ 19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4" h="430">
                  <a:moveTo>
                    <a:pt x="310" y="19"/>
                  </a:moveTo>
                  <a:lnTo>
                    <a:pt x="92" y="19"/>
                  </a:lnTo>
                  <a:lnTo>
                    <a:pt x="47" y="0"/>
                  </a:lnTo>
                  <a:lnTo>
                    <a:pt x="26" y="1"/>
                  </a:lnTo>
                  <a:lnTo>
                    <a:pt x="0" y="55"/>
                  </a:lnTo>
                  <a:lnTo>
                    <a:pt x="9" y="110"/>
                  </a:lnTo>
                  <a:lnTo>
                    <a:pt x="93" y="118"/>
                  </a:lnTo>
                  <a:lnTo>
                    <a:pt x="104" y="152"/>
                  </a:lnTo>
                  <a:lnTo>
                    <a:pt x="67" y="357"/>
                  </a:lnTo>
                  <a:lnTo>
                    <a:pt x="68" y="394"/>
                  </a:lnTo>
                  <a:lnTo>
                    <a:pt x="127" y="426"/>
                  </a:lnTo>
                  <a:lnTo>
                    <a:pt x="196" y="430"/>
                  </a:lnTo>
                  <a:lnTo>
                    <a:pt x="332" y="397"/>
                  </a:lnTo>
                  <a:lnTo>
                    <a:pt x="399" y="313"/>
                  </a:lnTo>
                  <a:lnTo>
                    <a:pt x="400" y="227"/>
                  </a:lnTo>
                  <a:lnTo>
                    <a:pt x="519" y="121"/>
                  </a:lnTo>
                  <a:lnTo>
                    <a:pt x="524" y="73"/>
                  </a:lnTo>
                  <a:lnTo>
                    <a:pt x="416" y="72"/>
                  </a:lnTo>
                  <a:lnTo>
                    <a:pt x="31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311"/>
            <p:cNvSpPr>
              <a:spLocks/>
            </p:cNvSpPr>
            <p:nvPr/>
          </p:nvSpPr>
          <p:spPr bwMode="auto">
            <a:xfrm>
              <a:off x="4073525" y="2444750"/>
              <a:ext cx="61913" cy="147638"/>
            </a:xfrm>
            <a:custGeom>
              <a:avLst/>
              <a:gdLst>
                <a:gd name="T0" fmla="*/ 40 w 118"/>
                <a:gd name="T1" fmla="*/ 0 h 278"/>
                <a:gd name="T2" fmla="*/ 30 w 118"/>
                <a:gd name="T3" fmla="*/ 148 h 278"/>
                <a:gd name="T4" fmla="*/ 0 w 118"/>
                <a:gd name="T5" fmla="*/ 175 h 278"/>
                <a:gd name="T6" fmla="*/ 3 w 118"/>
                <a:gd name="T7" fmla="*/ 192 h 278"/>
                <a:gd name="T8" fmla="*/ 24 w 118"/>
                <a:gd name="T9" fmla="*/ 227 h 278"/>
                <a:gd name="T10" fmla="*/ 11 w 118"/>
                <a:gd name="T11" fmla="*/ 270 h 278"/>
                <a:gd name="T12" fmla="*/ 33 w 118"/>
                <a:gd name="T13" fmla="*/ 278 h 278"/>
                <a:gd name="T14" fmla="*/ 86 w 118"/>
                <a:gd name="T15" fmla="*/ 272 h 278"/>
                <a:gd name="T16" fmla="*/ 83 w 118"/>
                <a:gd name="T17" fmla="*/ 228 h 278"/>
                <a:gd name="T18" fmla="*/ 118 w 118"/>
                <a:gd name="T19" fmla="*/ 30 h 278"/>
                <a:gd name="T20" fmla="*/ 110 w 118"/>
                <a:gd name="T21" fmla="*/ 3 h 278"/>
                <a:gd name="T22" fmla="*/ 40 w 118"/>
                <a:gd name="T23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278">
                  <a:moveTo>
                    <a:pt x="40" y="0"/>
                  </a:moveTo>
                  <a:lnTo>
                    <a:pt x="30" y="148"/>
                  </a:lnTo>
                  <a:lnTo>
                    <a:pt x="0" y="175"/>
                  </a:lnTo>
                  <a:lnTo>
                    <a:pt x="3" y="192"/>
                  </a:lnTo>
                  <a:lnTo>
                    <a:pt x="24" y="227"/>
                  </a:lnTo>
                  <a:lnTo>
                    <a:pt x="11" y="270"/>
                  </a:lnTo>
                  <a:lnTo>
                    <a:pt x="33" y="278"/>
                  </a:lnTo>
                  <a:lnTo>
                    <a:pt x="86" y="272"/>
                  </a:lnTo>
                  <a:lnTo>
                    <a:pt x="83" y="228"/>
                  </a:lnTo>
                  <a:lnTo>
                    <a:pt x="118" y="30"/>
                  </a:lnTo>
                  <a:lnTo>
                    <a:pt x="110" y="3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312"/>
            <p:cNvSpPr>
              <a:spLocks/>
            </p:cNvSpPr>
            <p:nvPr/>
          </p:nvSpPr>
          <p:spPr bwMode="auto">
            <a:xfrm>
              <a:off x="4354513" y="2498725"/>
              <a:ext cx="31750" cy="19050"/>
            </a:xfrm>
            <a:custGeom>
              <a:avLst/>
              <a:gdLst>
                <a:gd name="T0" fmla="*/ 26 w 61"/>
                <a:gd name="T1" fmla="*/ 0 h 35"/>
                <a:gd name="T2" fmla="*/ 0 w 61"/>
                <a:gd name="T3" fmla="*/ 11 h 35"/>
                <a:gd name="T4" fmla="*/ 6 w 61"/>
                <a:gd name="T5" fmla="*/ 35 h 35"/>
                <a:gd name="T6" fmla="*/ 44 w 61"/>
                <a:gd name="T7" fmla="*/ 35 h 35"/>
                <a:gd name="T8" fmla="*/ 61 w 61"/>
                <a:gd name="T9" fmla="*/ 17 h 35"/>
                <a:gd name="T10" fmla="*/ 26 w 61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35">
                  <a:moveTo>
                    <a:pt x="26" y="0"/>
                  </a:moveTo>
                  <a:lnTo>
                    <a:pt x="0" y="11"/>
                  </a:lnTo>
                  <a:lnTo>
                    <a:pt x="6" y="35"/>
                  </a:lnTo>
                  <a:lnTo>
                    <a:pt x="44" y="35"/>
                  </a:lnTo>
                  <a:lnTo>
                    <a:pt x="61" y="17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313"/>
            <p:cNvSpPr>
              <a:spLocks/>
            </p:cNvSpPr>
            <p:nvPr/>
          </p:nvSpPr>
          <p:spPr bwMode="auto">
            <a:xfrm>
              <a:off x="4492625" y="2463800"/>
              <a:ext cx="36513" cy="63500"/>
            </a:xfrm>
            <a:custGeom>
              <a:avLst/>
              <a:gdLst>
                <a:gd name="T0" fmla="*/ 46 w 70"/>
                <a:gd name="T1" fmla="*/ 0 h 118"/>
                <a:gd name="T2" fmla="*/ 0 w 70"/>
                <a:gd name="T3" fmla="*/ 23 h 118"/>
                <a:gd name="T4" fmla="*/ 6 w 70"/>
                <a:gd name="T5" fmla="*/ 112 h 118"/>
                <a:gd name="T6" fmla="*/ 43 w 70"/>
                <a:gd name="T7" fmla="*/ 118 h 118"/>
                <a:gd name="T8" fmla="*/ 70 w 70"/>
                <a:gd name="T9" fmla="*/ 92 h 118"/>
                <a:gd name="T10" fmla="*/ 70 w 70"/>
                <a:gd name="T11" fmla="*/ 8 h 118"/>
                <a:gd name="T12" fmla="*/ 46 w 70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18">
                  <a:moveTo>
                    <a:pt x="46" y="0"/>
                  </a:moveTo>
                  <a:lnTo>
                    <a:pt x="0" y="23"/>
                  </a:lnTo>
                  <a:lnTo>
                    <a:pt x="6" y="112"/>
                  </a:lnTo>
                  <a:lnTo>
                    <a:pt x="43" y="118"/>
                  </a:lnTo>
                  <a:lnTo>
                    <a:pt x="70" y="92"/>
                  </a:lnTo>
                  <a:lnTo>
                    <a:pt x="70" y="8"/>
                  </a:lnTo>
                  <a:lnTo>
                    <a:pt x="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314"/>
            <p:cNvSpPr>
              <a:spLocks/>
            </p:cNvSpPr>
            <p:nvPr/>
          </p:nvSpPr>
          <p:spPr bwMode="auto">
            <a:xfrm>
              <a:off x="4500563" y="2406650"/>
              <a:ext cx="22225" cy="42863"/>
            </a:xfrm>
            <a:custGeom>
              <a:avLst/>
              <a:gdLst>
                <a:gd name="T0" fmla="*/ 36 w 43"/>
                <a:gd name="T1" fmla="*/ 0 h 80"/>
                <a:gd name="T2" fmla="*/ 3 w 43"/>
                <a:gd name="T3" fmla="*/ 33 h 80"/>
                <a:gd name="T4" fmla="*/ 0 w 43"/>
                <a:gd name="T5" fmla="*/ 64 h 80"/>
                <a:gd name="T6" fmla="*/ 27 w 43"/>
                <a:gd name="T7" fmla="*/ 80 h 80"/>
                <a:gd name="T8" fmla="*/ 37 w 43"/>
                <a:gd name="T9" fmla="*/ 79 h 80"/>
                <a:gd name="T10" fmla="*/ 43 w 43"/>
                <a:gd name="T11" fmla="*/ 34 h 80"/>
                <a:gd name="T12" fmla="*/ 36 w 43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80">
                  <a:moveTo>
                    <a:pt x="36" y="0"/>
                  </a:moveTo>
                  <a:lnTo>
                    <a:pt x="3" y="33"/>
                  </a:lnTo>
                  <a:lnTo>
                    <a:pt x="0" y="64"/>
                  </a:lnTo>
                  <a:lnTo>
                    <a:pt x="27" y="80"/>
                  </a:lnTo>
                  <a:lnTo>
                    <a:pt x="37" y="79"/>
                  </a:lnTo>
                  <a:lnTo>
                    <a:pt x="43" y="34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315"/>
            <p:cNvSpPr>
              <a:spLocks/>
            </p:cNvSpPr>
            <p:nvPr/>
          </p:nvSpPr>
          <p:spPr bwMode="auto">
            <a:xfrm>
              <a:off x="4195763" y="2151063"/>
              <a:ext cx="284163" cy="258763"/>
            </a:xfrm>
            <a:custGeom>
              <a:avLst/>
              <a:gdLst>
                <a:gd name="T0" fmla="*/ 313 w 537"/>
                <a:gd name="T1" fmla="*/ 0 h 489"/>
                <a:gd name="T2" fmla="*/ 274 w 537"/>
                <a:gd name="T3" fmla="*/ 9 h 489"/>
                <a:gd name="T4" fmla="*/ 199 w 537"/>
                <a:gd name="T5" fmla="*/ 91 h 489"/>
                <a:gd name="T6" fmla="*/ 176 w 537"/>
                <a:gd name="T7" fmla="*/ 93 h 489"/>
                <a:gd name="T8" fmla="*/ 145 w 537"/>
                <a:gd name="T9" fmla="*/ 71 h 489"/>
                <a:gd name="T10" fmla="*/ 126 w 537"/>
                <a:gd name="T11" fmla="*/ 76 h 489"/>
                <a:gd name="T12" fmla="*/ 111 w 537"/>
                <a:gd name="T13" fmla="*/ 123 h 489"/>
                <a:gd name="T14" fmla="*/ 0 w 537"/>
                <a:gd name="T15" fmla="*/ 126 h 489"/>
                <a:gd name="T16" fmla="*/ 3 w 537"/>
                <a:gd name="T17" fmla="*/ 151 h 489"/>
                <a:gd name="T18" fmla="*/ 79 w 537"/>
                <a:gd name="T19" fmla="*/ 201 h 489"/>
                <a:gd name="T20" fmla="*/ 167 w 537"/>
                <a:gd name="T21" fmla="*/ 271 h 489"/>
                <a:gd name="T22" fmla="*/ 166 w 537"/>
                <a:gd name="T23" fmla="*/ 355 h 489"/>
                <a:gd name="T24" fmla="*/ 119 w 537"/>
                <a:gd name="T25" fmla="*/ 437 h 489"/>
                <a:gd name="T26" fmla="*/ 220 w 537"/>
                <a:gd name="T27" fmla="*/ 486 h 489"/>
                <a:gd name="T28" fmla="*/ 323 w 537"/>
                <a:gd name="T29" fmla="*/ 489 h 489"/>
                <a:gd name="T30" fmla="*/ 355 w 537"/>
                <a:gd name="T31" fmla="*/ 452 h 489"/>
                <a:gd name="T32" fmla="*/ 420 w 537"/>
                <a:gd name="T33" fmla="*/ 454 h 489"/>
                <a:gd name="T34" fmla="*/ 439 w 537"/>
                <a:gd name="T35" fmla="*/ 471 h 489"/>
                <a:gd name="T36" fmla="*/ 504 w 537"/>
                <a:gd name="T37" fmla="*/ 467 h 489"/>
                <a:gd name="T38" fmla="*/ 537 w 537"/>
                <a:gd name="T39" fmla="*/ 424 h 489"/>
                <a:gd name="T40" fmla="*/ 494 w 537"/>
                <a:gd name="T41" fmla="*/ 373 h 489"/>
                <a:gd name="T42" fmla="*/ 491 w 537"/>
                <a:gd name="T43" fmla="*/ 341 h 489"/>
                <a:gd name="T44" fmla="*/ 501 w 537"/>
                <a:gd name="T45" fmla="*/ 306 h 489"/>
                <a:gd name="T46" fmla="*/ 479 w 537"/>
                <a:gd name="T47" fmla="*/ 276 h 489"/>
                <a:gd name="T48" fmla="*/ 443 w 537"/>
                <a:gd name="T49" fmla="*/ 286 h 489"/>
                <a:gd name="T50" fmla="*/ 439 w 537"/>
                <a:gd name="T51" fmla="*/ 258 h 489"/>
                <a:gd name="T52" fmla="*/ 519 w 537"/>
                <a:gd name="T53" fmla="*/ 170 h 489"/>
                <a:gd name="T54" fmla="*/ 519 w 537"/>
                <a:gd name="T55" fmla="*/ 116 h 489"/>
                <a:gd name="T56" fmla="*/ 465 w 537"/>
                <a:gd name="T57" fmla="*/ 86 h 489"/>
                <a:gd name="T58" fmla="*/ 439 w 537"/>
                <a:gd name="T59" fmla="*/ 82 h 489"/>
                <a:gd name="T60" fmla="*/ 313 w 537"/>
                <a:gd name="T61" fmla="*/ 0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37" h="489">
                  <a:moveTo>
                    <a:pt x="313" y="0"/>
                  </a:moveTo>
                  <a:lnTo>
                    <a:pt x="274" y="9"/>
                  </a:lnTo>
                  <a:lnTo>
                    <a:pt x="199" y="91"/>
                  </a:lnTo>
                  <a:lnTo>
                    <a:pt x="176" y="93"/>
                  </a:lnTo>
                  <a:lnTo>
                    <a:pt x="145" y="71"/>
                  </a:lnTo>
                  <a:lnTo>
                    <a:pt x="126" y="76"/>
                  </a:lnTo>
                  <a:lnTo>
                    <a:pt x="111" y="123"/>
                  </a:lnTo>
                  <a:lnTo>
                    <a:pt x="0" y="126"/>
                  </a:lnTo>
                  <a:lnTo>
                    <a:pt x="3" y="151"/>
                  </a:lnTo>
                  <a:lnTo>
                    <a:pt x="79" y="201"/>
                  </a:lnTo>
                  <a:lnTo>
                    <a:pt x="167" y="271"/>
                  </a:lnTo>
                  <a:lnTo>
                    <a:pt x="166" y="355"/>
                  </a:lnTo>
                  <a:lnTo>
                    <a:pt x="119" y="437"/>
                  </a:lnTo>
                  <a:lnTo>
                    <a:pt x="220" y="486"/>
                  </a:lnTo>
                  <a:lnTo>
                    <a:pt x="323" y="489"/>
                  </a:lnTo>
                  <a:lnTo>
                    <a:pt x="355" y="452"/>
                  </a:lnTo>
                  <a:lnTo>
                    <a:pt x="420" y="454"/>
                  </a:lnTo>
                  <a:lnTo>
                    <a:pt x="439" y="471"/>
                  </a:lnTo>
                  <a:lnTo>
                    <a:pt x="504" y="467"/>
                  </a:lnTo>
                  <a:lnTo>
                    <a:pt x="537" y="424"/>
                  </a:lnTo>
                  <a:lnTo>
                    <a:pt x="494" y="373"/>
                  </a:lnTo>
                  <a:lnTo>
                    <a:pt x="491" y="341"/>
                  </a:lnTo>
                  <a:lnTo>
                    <a:pt x="501" y="306"/>
                  </a:lnTo>
                  <a:lnTo>
                    <a:pt x="479" y="276"/>
                  </a:lnTo>
                  <a:lnTo>
                    <a:pt x="443" y="286"/>
                  </a:lnTo>
                  <a:lnTo>
                    <a:pt x="439" y="258"/>
                  </a:lnTo>
                  <a:lnTo>
                    <a:pt x="519" y="170"/>
                  </a:lnTo>
                  <a:lnTo>
                    <a:pt x="519" y="116"/>
                  </a:lnTo>
                  <a:lnTo>
                    <a:pt x="465" y="86"/>
                  </a:lnTo>
                  <a:lnTo>
                    <a:pt x="439" y="82"/>
                  </a:lnTo>
                  <a:lnTo>
                    <a:pt x="3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316"/>
            <p:cNvSpPr>
              <a:spLocks/>
            </p:cNvSpPr>
            <p:nvPr/>
          </p:nvSpPr>
          <p:spPr bwMode="auto">
            <a:xfrm>
              <a:off x="4376738" y="2055813"/>
              <a:ext cx="82550" cy="88900"/>
            </a:xfrm>
            <a:custGeom>
              <a:avLst/>
              <a:gdLst>
                <a:gd name="T0" fmla="*/ 137 w 155"/>
                <a:gd name="T1" fmla="*/ 0 h 168"/>
                <a:gd name="T2" fmla="*/ 60 w 155"/>
                <a:gd name="T3" fmla="*/ 37 h 168"/>
                <a:gd name="T4" fmla="*/ 76 w 155"/>
                <a:gd name="T5" fmla="*/ 53 h 168"/>
                <a:gd name="T6" fmla="*/ 78 w 155"/>
                <a:gd name="T7" fmla="*/ 91 h 168"/>
                <a:gd name="T8" fmla="*/ 61 w 155"/>
                <a:gd name="T9" fmla="*/ 87 h 168"/>
                <a:gd name="T10" fmla="*/ 44 w 155"/>
                <a:gd name="T11" fmla="*/ 60 h 168"/>
                <a:gd name="T12" fmla="*/ 0 w 155"/>
                <a:gd name="T13" fmla="*/ 128 h 168"/>
                <a:gd name="T14" fmla="*/ 66 w 155"/>
                <a:gd name="T15" fmla="*/ 142 h 168"/>
                <a:gd name="T16" fmla="*/ 92 w 155"/>
                <a:gd name="T17" fmla="*/ 168 h 168"/>
                <a:gd name="T18" fmla="*/ 105 w 155"/>
                <a:gd name="T19" fmla="*/ 168 h 168"/>
                <a:gd name="T20" fmla="*/ 114 w 155"/>
                <a:gd name="T21" fmla="*/ 110 h 168"/>
                <a:gd name="T22" fmla="*/ 155 w 155"/>
                <a:gd name="T23" fmla="*/ 91 h 168"/>
                <a:gd name="T24" fmla="*/ 137 w 155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5" h="168">
                  <a:moveTo>
                    <a:pt x="137" y="0"/>
                  </a:moveTo>
                  <a:lnTo>
                    <a:pt x="60" y="37"/>
                  </a:lnTo>
                  <a:lnTo>
                    <a:pt x="76" y="53"/>
                  </a:lnTo>
                  <a:lnTo>
                    <a:pt x="78" y="91"/>
                  </a:lnTo>
                  <a:lnTo>
                    <a:pt x="61" y="87"/>
                  </a:lnTo>
                  <a:lnTo>
                    <a:pt x="44" y="60"/>
                  </a:lnTo>
                  <a:lnTo>
                    <a:pt x="0" y="128"/>
                  </a:lnTo>
                  <a:lnTo>
                    <a:pt x="66" y="142"/>
                  </a:lnTo>
                  <a:lnTo>
                    <a:pt x="92" y="168"/>
                  </a:lnTo>
                  <a:lnTo>
                    <a:pt x="105" y="168"/>
                  </a:lnTo>
                  <a:lnTo>
                    <a:pt x="114" y="110"/>
                  </a:lnTo>
                  <a:lnTo>
                    <a:pt x="155" y="91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317"/>
            <p:cNvSpPr>
              <a:spLocks/>
            </p:cNvSpPr>
            <p:nvPr/>
          </p:nvSpPr>
          <p:spPr bwMode="auto">
            <a:xfrm>
              <a:off x="4367213" y="2130425"/>
              <a:ext cx="80963" cy="60325"/>
            </a:xfrm>
            <a:custGeom>
              <a:avLst/>
              <a:gdLst>
                <a:gd name="T0" fmla="*/ 11 w 153"/>
                <a:gd name="T1" fmla="*/ 0 h 113"/>
                <a:gd name="T2" fmla="*/ 0 w 153"/>
                <a:gd name="T3" fmla="*/ 27 h 113"/>
                <a:gd name="T4" fmla="*/ 118 w 153"/>
                <a:gd name="T5" fmla="*/ 106 h 113"/>
                <a:gd name="T6" fmla="*/ 152 w 153"/>
                <a:gd name="T7" fmla="*/ 113 h 113"/>
                <a:gd name="T8" fmla="*/ 153 w 153"/>
                <a:gd name="T9" fmla="*/ 76 h 113"/>
                <a:gd name="T10" fmla="*/ 124 w 153"/>
                <a:gd name="T11" fmla="*/ 43 h 113"/>
                <a:gd name="T12" fmla="*/ 105 w 153"/>
                <a:gd name="T13" fmla="*/ 43 h 113"/>
                <a:gd name="T14" fmla="*/ 80 w 153"/>
                <a:gd name="T15" fmla="*/ 15 h 113"/>
                <a:gd name="T16" fmla="*/ 11 w 153"/>
                <a:gd name="T1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113">
                  <a:moveTo>
                    <a:pt x="11" y="0"/>
                  </a:moveTo>
                  <a:lnTo>
                    <a:pt x="0" y="27"/>
                  </a:lnTo>
                  <a:lnTo>
                    <a:pt x="118" y="106"/>
                  </a:lnTo>
                  <a:lnTo>
                    <a:pt x="152" y="113"/>
                  </a:lnTo>
                  <a:lnTo>
                    <a:pt x="153" y="76"/>
                  </a:lnTo>
                  <a:lnTo>
                    <a:pt x="124" y="43"/>
                  </a:lnTo>
                  <a:lnTo>
                    <a:pt x="105" y="43"/>
                  </a:lnTo>
                  <a:lnTo>
                    <a:pt x="80" y="15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318"/>
            <p:cNvSpPr>
              <a:spLocks/>
            </p:cNvSpPr>
            <p:nvPr/>
          </p:nvSpPr>
          <p:spPr bwMode="auto">
            <a:xfrm>
              <a:off x="4440238" y="2019300"/>
              <a:ext cx="195263" cy="244475"/>
            </a:xfrm>
            <a:custGeom>
              <a:avLst/>
              <a:gdLst>
                <a:gd name="T0" fmla="*/ 36 w 371"/>
                <a:gd name="T1" fmla="*/ 61 h 460"/>
                <a:gd name="T2" fmla="*/ 97 w 371"/>
                <a:gd name="T3" fmla="*/ 51 h 460"/>
                <a:gd name="T4" fmla="*/ 97 w 371"/>
                <a:gd name="T5" fmla="*/ 8 h 460"/>
                <a:gd name="T6" fmla="*/ 149 w 371"/>
                <a:gd name="T7" fmla="*/ 0 h 460"/>
                <a:gd name="T8" fmla="*/ 177 w 371"/>
                <a:gd name="T9" fmla="*/ 27 h 460"/>
                <a:gd name="T10" fmla="*/ 206 w 371"/>
                <a:gd name="T11" fmla="*/ 31 h 460"/>
                <a:gd name="T12" fmla="*/ 253 w 371"/>
                <a:gd name="T13" fmla="*/ 11 h 460"/>
                <a:gd name="T14" fmla="*/ 294 w 371"/>
                <a:gd name="T15" fmla="*/ 22 h 460"/>
                <a:gd name="T16" fmla="*/ 330 w 371"/>
                <a:gd name="T17" fmla="*/ 54 h 460"/>
                <a:gd name="T18" fmla="*/ 335 w 371"/>
                <a:gd name="T19" fmla="*/ 172 h 460"/>
                <a:gd name="T20" fmla="*/ 371 w 371"/>
                <a:gd name="T21" fmla="*/ 220 h 460"/>
                <a:gd name="T22" fmla="*/ 324 w 371"/>
                <a:gd name="T23" fmla="*/ 227 h 460"/>
                <a:gd name="T24" fmla="*/ 245 w 371"/>
                <a:gd name="T25" fmla="*/ 277 h 460"/>
                <a:gd name="T26" fmla="*/ 251 w 371"/>
                <a:gd name="T27" fmla="*/ 293 h 460"/>
                <a:gd name="T28" fmla="*/ 322 w 371"/>
                <a:gd name="T29" fmla="*/ 360 h 460"/>
                <a:gd name="T30" fmla="*/ 317 w 371"/>
                <a:gd name="T31" fmla="*/ 393 h 460"/>
                <a:gd name="T32" fmla="*/ 251 w 371"/>
                <a:gd name="T33" fmla="*/ 426 h 460"/>
                <a:gd name="T34" fmla="*/ 190 w 371"/>
                <a:gd name="T35" fmla="*/ 428 h 460"/>
                <a:gd name="T36" fmla="*/ 176 w 371"/>
                <a:gd name="T37" fmla="*/ 460 h 460"/>
                <a:gd name="T38" fmla="*/ 144 w 371"/>
                <a:gd name="T39" fmla="*/ 460 h 460"/>
                <a:gd name="T40" fmla="*/ 129 w 371"/>
                <a:gd name="T41" fmla="*/ 426 h 460"/>
                <a:gd name="T42" fmla="*/ 74 w 371"/>
                <a:gd name="T43" fmla="*/ 413 h 460"/>
                <a:gd name="T44" fmla="*/ 73 w 371"/>
                <a:gd name="T45" fmla="*/ 358 h 460"/>
                <a:gd name="T46" fmla="*/ 26 w 371"/>
                <a:gd name="T47" fmla="*/ 327 h 460"/>
                <a:gd name="T48" fmla="*/ 31 w 371"/>
                <a:gd name="T49" fmla="*/ 287 h 460"/>
                <a:gd name="T50" fmla="*/ 0 w 371"/>
                <a:gd name="T51" fmla="*/ 244 h 460"/>
                <a:gd name="T52" fmla="*/ 8 w 371"/>
                <a:gd name="T53" fmla="*/ 188 h 460"/>
                <a:gd name="T54" fmla="*/ 51 w 371"/>
                <a:gd name="T55" fmla="*/ 167 h 460"/>
                <a:gd name="T56" fmla="*/ 36 w 371"/>
                <a:gd name="T57" fmla="*/ 6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1" h="460">
                  <a:moveTo>
                    <a:pt x="36" y="61"/>
                  </a:moveTo>
                  <a:lnTo>
                    <a:pt x="97" y="51"/>
                  </a:lnTo>
                  <a:lnTo>
                    <a:pt x="97" y="8"/>
                  </a:lnTo>
                  <a:lnTo>
                    <a:pt x="149" y="0"/>
                  </a:lnTo>
                  <a:lnTo>
                    <a:pt x="177" y="27"/>
                  </a:lnTo>
                  <a:lnTo>
                    <a:pt x="206" y="31"/>
                  </a:lnTo>
                  <a:lnTo>
                    <a:pt x="253" y="11"/>
                  </a:lnTo>
                  <a:lnTo>
                    <a:pt x="294" y="22"/>
                  </a:lnTo>
                  <a:lnTo>
                    <a:pt x="330" y="54"/>
                  </a:lnTo>
                  <a:lnTo>
                    <a:pt x="335" y="172"/>
                  </a:lnTo>
                  <a:lnTo>
                    <a:pt x="371" y="220"/>
                  </a:lnTo>
                  <a:lnTo>
                    <a:pt x="324" y="227"/>
                  </a:lnTo>
                  <a:lnTo>
                    <a:pt x="245" y="277"/>
                  </a:lnTo>
                  <a:lnTo>
                    <a:pt x="251" y="293"/>
                  </a:lnTo>
                  <a:lnTo>
                    <a:pt x="322" y="360"/>
                  </a:lnTo>
                  <a:lnTo>
                    <a:pt x="317" y="393"/>
                  </a:lnTo>
                  <a:lnTo>
                    <a:pt x="251" y="426"/>
                  </a:lnTo>
                  <a:lnTo>
                    <a:pt x="190" y="428"/>
                  </a:lnTo>
                  <a:lnTo>
                    <a:pt x="176" y="460"/>
                  </a:lnTo>
                  <a:lnTo>
                    <a:pt x="144" y="460"/>
                  </a:lnTo>
                  <a:lnTo>
                    <a:pt x="129" y="426"/>
                  </a:lnTo>
                  <a:lnTo>
                    <a:pt x="74" y="413"/>
                  </a:lnTo>
                  <a:lnTo>
                    <a:pt x="73" y="358"/>
                  </a:lnTo>
                  <a:lnTo>
                    <a:pt x="26" y="327"/>
                  </a:lnTo>
                  <a:lnTo>
                    <a:pt x="31" y="287"/>
                  </a:lnTo>
                  <a:lnTo>
                    <a:pt x="0" y="244"/>
                  </a:lnTo>
                  <a:lnTo>
                    <a:pt x="8" y="188"/>
                  </a:lnTo>
                  <a:lnTo>
                    <a:pt x="51" y="167"/>
                  </a:lnTo>
                  <a:lnTo>
                    <a:pt x="36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319"/>
            <p:cNvSpPr>
              <a:spLocks/>
            </p:cNvSpPr>
            <p:nvPr/>
          </p:nvSpPr>
          <p:spPr bwMode="auto">
            <a:xfrm>
              <a:off x="4470400" y="1903413"/>
              <a:ext cx="58738" cy="114300"/>
            </a:xfrm>
            <a:custGeom>
              <a:avLst/>
              <a:gdLst>
                <a:gd name="T0" fmla="*/ 74 w 111"/>
                <a:gd name="T1" fmla="*/ 0 h 214"/>
                <a:gd name="T2" fmla="*/ 3 w 111"/>
                <a:gd name="T3" fmla="*/ 78 h 214"/>
                <a:gd name="T4" fmla="*/ 0 w 111"/>
                <a:gd name="T5" fmla="*/ 130 h 214"/>
                <a:gd name="T6" fmla="*/ 32 w 111"/>
                <a:gd name="T7" fmla="*/ 214 h 214"/>
                <a:gd name="T8" fmla="*/ 83 w 111"/>
                <a:gd name="T9" fmla="*/ 204 h 214"/>
                <a:gd name="T10" fmla="*/ 77 w 111"/>
                <a:gd name="T11" fmla="*/ 135 h 214"/>
                <a:gd name="T12" fmla="*/ 111 w 111"/>
                <a:gd name="T13" fmla="*/ 96 h 214"/>
                <a:gd name="T14" fmla="*/ 111 w 111"/>
                <a:gd name="T15" fmla="*/ 66 h 214"/>
                <a:gd name="T16" fmla="*/ 86 w 111"/>
                <a:gd name="T17" fmla="*/ 2 h 214"/>
                <a:gd name="T18" fmla="*/ 74 w 111"/>
                <a:gd name="T1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214">
                  <a:moveTo>
                    <a:pt x="74" y="0"/>
                  </a:moveTo>
                  <a:lnTo>
                    <a:pt x="3" y="78"/>
                  </a:lnTo>
                  <a:lnTo>
                    <a:pt x="0" y="130"/>
                  </a:lnTo>
                  <a:lnTo>
                    <a:pt x="32" y="214"/>
                  </a:lnTo>
                  <a:lnTo>
                    <a:pt x="83" y="204"/>
                  </a:lnTo>
                  <a:lnTo>
                    <a:pt x="77" y="135"/>
                  </a:lnTo>
                  <a:lnTo>
                    <a:pt x="111" y="96"/>
                  </a:lnTo>
                  <a:lnTo>
                    <a:pt x="111" y="66"/>
                  </a:lnTo>
                  <a:lnTo>
                    <a:pt x="86" y="2"/>
                  </a:lnTo>
                  <a:lnTo>
                    <a:pt x="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320"/>
            <p:cNvSpPr>
              <a:spLocks/>
            </p:cNvSpPr>
            <p:nvPr/>
          </p:nvSpPr>
          <p:spPr bwMode="auto">
            <a:xfrm>
              <a:off x="4532313" y="1976438"/>
              <a:ext cx="28575" cy="26988"/>
            </a:xfrm>
            <a:custGeom>
              <a:avLst/>
              <a:gdLst>
                <a:gd name="T0" fmla="*/ 37 w 54"/>
                <a:gd name="T1" fmla="*/ 1 h 50"/>
                <a:gd name="T2" fmla="*/ 21 w 54"/>
                <a:gd name="T3" fmla="*/ 0 h 50"/>
                <a:gd name="T4" fmla="*/ 0 w 54"/>
                <a:gd name="T5" fmla="*/ 19 h 50"/>
                <a:gd name="T6" fmla="*/ 3 w 54"/>
                <a:gd name="T7" fmla="*/ 49 h 50"/>
                <a:gd name="T8" fmla="*/ 52 w 54"/>
                <a:gd name="T9" fmla="*/ 50 h 50"/>
                <a:gd name="T10" fmla="*/ 54 w 54"/>
                <a:gd name="T11" fmla="*/ 17 h 50"/>
                <a:gd name="T12" fmla="*/ 37 w 54"/>
                <a:gd name="T13" fmla="*/ 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50">
                  <a:moveTo>
                    <a:pt x="37" y="1"/>
                  </a:moveTo>
                  <a:lnTo>
                    <a:pt x="21" y="0"/>
                  </a:lnTo>
                  <a:lnTo>
                    <a:pt x="0" y="19"/>
                  </a:lnTo>
                  <a:lnTo>
                    <a:pt x="3" y="49"/>
                  </a:lnTo>
                  <a:lnTo>
                    <a:pt x="52" y="50"/>
                  </a:lnTo>
                  <a:lnTo>
                    <a:pt x="54" y="17"/>
                  </a:lnTo>
                  <a:lnTo>
                    <a:pt x="3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321"/>
            <p:cNvSpPr>
              <a:spLocks/>
            </p:cNvSpPr>
            <p:nvPr/>
          </p:nvSpPr>
          <p:spPr bwMode="auto">
            <a:xfrm>
              <a:off x="4687888" y="1890713"/>
              <a:ext cx="26988" cy="38100"/>
            </a:xfrm>
            <a:custGeom>
              <a:avLst/>
              <a:gdLst>
                <a:gd name="T0" fmla="*/ 35 w 50"/>
                <a:gd name="T1" fmla="*/ 0 h 71"/>
                <a:gd name="T2" fmla="*/ 0 w 50"/>
                <a:gd name="T3" fmla="*/ 30 h 71"/>
                <a:gd name="T4" fmla="*/ 18 w 50"/>
                <a:gd name="T5" fmla="*/ 71 h 71"/>
                <a:gd name="T6" fmla="*/ 50 w 50"/>
                <a:gd name="T7" fmla="*/ 40 h 71"/>
                <a:gd name="T8" fmla="*/ 35 w 50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1">
                  <a:moveTo>
                    <a:pt x="35" y="0"/>
                  </a:moveTo>
                  <a:lnTo>
                    <a:pt x="0" y="30"/>
                  </a:lnTo>
                  <a:lnTo>
                    <a:pt x="18" y="71"/>
                  </a:lnTo>
                  <a:lnTo>
                    <a:pt x="50" y="4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322"/>
            <p:cNvSpPr>
              <a:spLocks/>
            </p:cNvSpPr>
            <p:nvPr/>
          </p:nvSpPr>
          <p:spPr bwMode="auto">
            <a:xfrm>
              <a:off x="4435475" y="2246313"/>
              <a:ext cx="101600" cy="66675"/>
            </a:xfrm>
            <a:custGeom>
              <a:avLst/>
              <a:gdLst>
                <a:gd name="T0" fmla="*/ 75 w 192"/>
                <a:gd name="T1" fmla="*/ 0 h 125"/>
                <a:gd name="T2" fmla="*/ 0 w 192"/>
                <a:gd name="T3" fmla="*/ 79 h 125"/>
                <a:gd name="T4" fmla="*/ 2 w 192"/>
                <a:gd name="T5" fmla="*/ 88 h 125"/>
                <a:gd name="T6" fmla="*/ 32 w 192"/>
                <a:gd name="T7" fmla="*/ 78 h 125"/>
                <a:gd name="T8" fmla="*/ 60 w 192"/>
                <a:gd name="T9" fmla="*/ 116 h 125"/>
                <a:gd name="T10" fmla="*/ 106 w 192"/>
                <a:gd name="T11" fmla="*/ 100 h 125"/>
                <a:gd name="T12" fmla="*/ 139 w 192"/>
                <a:gd name="T13" fmla="*/ 125 h 125"/>
                <a:gd name="T14" fmla="*/ 152 w 192"/>
                <a:gd name="T15" fmla="*/ 118 h 125"/>
                <a:gd name="T16" fmla="*/ 192 w 192"/>
                <a:gd name="T17" fmla="*/ 55 h 125"/>
                <a:gd name="T18" fmla="*/ 181 w 192"/>
                <a:gd name="T19" fmla="*/ 46 h 125"/>
                <a:gd name="T20" fmla="*/ 142 w 192"/>
                <a:gd name="T21" fmla="*/ 45 h 125"/>
                <a:gd name="T22" fmla="*/ 123 w 192"/>
                <a:gd name="T23" fmla="*/ 5 h 125"/>
                <a:gd name="T24" fmla="*/ 75 w 192"/>
                <a:gd name="T2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125">
                  <a:moveTo>
                    <a:pt x="75" y="0"/>
                  </a:moveTo>
                  <a:lnTo>
                    <a:pt x="0" y="79"/>
                  </a:lnTo>
                  <a:lnTo>
                    <a:pt x="2" y="88"/>
                  </a:lnTo>
                  <a:lnTo>
                    <a:pt x="32" y="78"/>
                  </a:lnTo>
                  <a:lnTo>
                    <a:pt x="60" y="116"/>
                  </a:lnTo>
                  <a:lnTo>
                    <a:pt x="106" y="100"/>
                  </a:lnTo>
                  <a:lnTo>
                    <a:pt x="139" y="125"/>
                  </a:lnTo>
                  <a:lnTo>
                    <a:pt x="152" y="118"/>
                  </a:lnTo>
                  <a:lnTo>
                    <a:pt x="192" y="55"/>
                  </a:lnTo>
                  <a:lnTo>
                    <a:pt x="181" y="46"/>
                  </a:lnTo>
                  <a:lnTo>
                    <a:pt x="142" y="45"/>
                  </a:lnTo>
                  <a:lnTo>
                    <a:pt x="123" y="5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323"/>
            <p:cNvSpPr>
              <a:spLocks/>
            </p:cNvSpPr>
            <p:nvPr/>
          </p:nvSpPr>
          <p:spPr bwMode="auto">
            <a:xfrm>
              <a:off x="4578350" y="2141538"/>
              <a:ext cx="138113" cy="79375"/>
            </a:xfrm>
            <a:custGeom>
              <a:avLst/>
              <a:gdLst>
                <a:gd name="T0" fmla="*/ 71 w 262"/>
                <a:gd name="T1" fmla="*/ 121 h 150"/>
                <a:gd name="T2" fmla="*/ 122 w 262"/>
                <a:gd name="T3" fmla="*/ 121 h 150"/>
                <a:gd name="T4" fmla="*/ 146 w 262"/>
                <a:gd name="T5" fmla="*/ 121 h 150"/>
                <a:gd name="T6" fmla="*/ 187 w 262"/>
                <a:gd name="T7" fmla="*/ 150 h 150"/>
                <a:gd name="T8" fmla="*/ 262 w 262"/>
                <a:gd name="T9" fmla="*/ 88 h 150"/>
                <a:gd name="T10" fmla="*/ 190 w 262"/>
                <a:gd name="T11" fmla="*/ 35 h 150"/>
                <a:gd name="T12" fmla="*/ 116 w 262"/>
                <a:gd name="T13" fmla="*/ 0 h 150"/>
                <a:gd name="T14" fmla="*/ 68 w 262"/>
                <a:gd name="T15" fmla="*/ 9 h 150"/>
                <a:gd name="T16" fmla="*/ 0 w 262"/>
                <a:gd name="T17" fmla="*/ 52 h 150"/>
                <a:gd name="T18" fmla="*/ 71 w 262"/>
                <a:gd name="T19" fmla="*/ 12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2" h="150">
                  <a:moveTo>
                    <a:pt x="71" y="121"/>
                  </a:moveTo>
                  <a:lnTo>
                    <a:pt x="122" y="121"/>
                  </a:lnTo>
                  <a:lnTo>
                    <a:pt x="146" y="121"/>
                  </a:lnTo>
                  <a:lnTo>
                    <a:pt x="187" y="150"/>
                  </a:lnTo>
                  <a:lnTo>
                    <a:pt x="262" y="88"/>
                  </a:lnTo>
                  <a:lnTo>
                    <a:pt x="190" y="35"/>
                  </a:lnTo>
                  <a:lnTo>
                    <a:pt x="116" y="0"/>
                  </a:lnTo>
                  <a:lnTo>
                    <a:pt x="68" y="9"/>
                  </a:lnTo>
                  <a:lnTo>
                    <a:pt x="0" y="52"/>
                  </a:lnTo>
                  <a:lnTo>
                    <a:pt x="71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324"/>
            <p:cNvSpPr>
              <a:spLocks/>
            </p:cNvSpPr>
            <p:nvPr/>
          </p:nvSpPr>
          <p:spPr bwMode="auto">
            <a:xfrm>
              <a:off x="4683125" y="2192338"/>
              <a:ext cx="127000" cy="49213"/>
            </a:xfrm>
            <a:custGeom>
              <a:avLst/>
              <a:gdLst>
                <a:gd name="T0" fmla="*/ 0 w 240"/>
                <a:gd name="T1" fmla="*/ 65 h 93"/>
                <a:gd name="T2" fmla="*/ 11 w 240"/>
                <a:gd name="T3" fmla="*/ 75 h 93"/>
                <a:gd name="T4" fmla="*/ 13 w 240"/>
                <a:gd name="T5" fmla="*/ 93 h 93"/>
                <a:gd name="T6" fmla="*/ 144 w 240"/>
                <a:gd name="T7" fmla="*/ 90 h 93"/>
                <a:gd name="T8" fmla="*/ 240 w 240"/>
                <a:gd name="T9" fmla="*/ 48 h 93"/>
                <a:gd name="T10" fmla="*/ 238 w 240"/>
                <a:gd name="T11" fmla="*/ 6 h 93"/>
                <a:gd name="T12" fmla="*/ 220 w 240"/>
                <a:gd name="T13" fmla="*/ 14 h 93"/>
                <a:gd name="T14" fmla="*/ 194 w 240"/>
                <a:gd name="T15" fmla="*/ 0 h 93"/>
                <a:gd name="T16" fmla="*/ 177 w 240"/>
                <a:gd name="T17" fmla="*/ 0 h 93"/>
                <a:gd name="T18" fmla="*/ 135 w 240"/>
                <a:gd name="T19" fmla="*/ 17 h 93"/>
                <a:gd name="T20" fmla="*/ 76 w 240"/>
                <a:gd name="T21" fmla="*/ 3 h 93"/>
                <a:gd name="T22" fmla="*/ 0 w 240"/>
                <a:gd name="T23" fmla="*/ 6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" h="93">
                  <a:moveTo>
                    <a:pt x="0" y="65"/>
                  </a:moveTo>
                  <a:lnTo>
                    <a:pt x="11" y="75"/>
                  </a:lnTo>
                  <a:lnTo>
                    <a:pt x="13" y="93"/>
                  </a:lnTo>
                  <a:lnTo>
                    <a:pt x="144" y="90"/>
                  </a:lnTo>
                  <a:lnTo>
                    <a:pt x="240" y="48"/>
                  </a:lnTo>
                  <a:lnTo>
                    <a:pt x="238" y="6"/>
                  </a:lnTo>
                  <a:lnTo>
                    <a:pt x="220" y="14"/>
                  </a:lnTo>
                  <a:lnTo>
                    <a:pt x="194" y="0"/>
                  </a:lnTo>
                  <a:lnTo>
                    <a:pt x="177" y="0"/>
                  </a:lnTo>
                  <a:lnTo>
                    <a:pt x="135" y="17"/>
                  </a:lnTo>
                  <a:lnTo>
                    <a:pt x="76" y="3"/>
                  </a:lnTo>
                  <a:lnTo>
                    <a:pt x="0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325"/>
            <p:cNvSpPr>
              <a:spLocks/>
            </p:cNvSpPr>
            <p:nvPr/>
          </p:nvSpPr>
          <p:spPr bwMode="auto">
            <a:xfrm>
              <a:off x="4538663" y="2212975"/>
              <a:ext cx="144463" cy="73025"/>
            </a:xfrm>
            <a:custGeom>
              <a:avLst/>
              <a:gdLst>
                <a:gd name="T0" fmla="*/ 11 w 271"/>
                <a:gd name="T1" fmla="*/ 77 h 140"/>
                <a:gd name="T2" fmla="*/ 0 w 271"/>
                <a:gd name="T3" fmla="*/ 101 h 140"/>
                <a:gd name="T4" fmla="*/ 9 w 271"/>
                <a:gd name="T5" fmla="*/ 117 h 140"/>
                <a:gd name="T6" fmla="*/ 49 w 271"/>
                <a:gd name="T7" fmla="*/ 109 h 140"/>
                <a:gd name="T8" fmla="*/ 83 w 271"/>
                <a:gd name="T9" fmla="*/ 109 h 140"/>
                <a:gd name="T10" fmla="*/ 120 w 271"/>
                <a:gd name="T11" fmla="*/ 140 h 140"/>
                <a:gd name="T12" fmla="*/ 199 w 271"/>
                <a:gd name="T13" fmla="*/ 126 h 140"/>
                <a:gd name="T14" fmla="*/ 255 w 271"/>
                <a:gd name="T15" fmla="*/ 92 h 140"/>
                <a:gd name="T16" fmla="*/ 271 w 271"/>
                <a:gd name="T17" fmla="*/ 68 h 140"/>
                <a:gd name="T18" fmla="*/ 269 w 271"/>
                <a:gd name="T19" fmla="*/ 39 h 140"/>
                <a:gd name="T20" fmla="*/ 217 w 271"/>
                <a:gd name="T21" fmla="*/ 0 h 140"/>
                <a:gd name="T22" fmla="*/ 147 w 271"/>
                <a:gd name="T23" fmla="*/ 1 h 140"/>
                <a:gd name="T24" fmla="*/ 142 w 271"/>
                <a:gd name="T25" fmla="*/ 40 h 140"/>
                <a:gd name="T26" fmla="*/ 69 w 271"/>
                <a:gd name="T27" fmla="*/ 76 h 140"/>
                <a:gd name="T28" fmla="*/ 11 w 271"/>
                <a:gd name="T29" fmla="*/ 77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1" h="140">
                  <a:moveTo>
                    <a:pt x="11" y="77"/>
                  </a:moveTo>
                  <a:lnTo>
                    <a:pt x="0" y="101"/>
                  </a:lnTo>
                  <a:lnTo>
                    <a:pt x="9" y="117"/>
                  </a:lnTo>
                  <a:lnTo>
                    <a:pt x="49" y="109"/>
                  </a:lnTo>
                  <a:lnTo>
                    <a:pt x="83" y="109"/>
                  </a:lnTo>
                  <a:lnTo>
                    <a:pt x="120" y="140"/>
                  </a:lnTo>
                  <a:lnTo>
                    <a:pt x="199" y="126"/>
                  </a:lnTo>
                  <a:lnTo>
                    <a:pt x="255" y="92"/>
                  </a:lnTo>
                  <a:lnTo>
                    <a:pt x="271" y="68"/>
                  </a:lnTo>
                  <a:lnTo>
                    <a:pt x="269" y="39"/>
                  </a:lnTo>
                  <a:lnTo>
                    <a:pt x="217" y="0"/>
                  </a:lnTo>
                  <a:lnTo>
                    <a:pt x="147" y="1"/>
                  </a:lnTo>
                  <a:lnTo>
                    <a:pt x="142" y="40"/>
                  </a:lnTo>
                  <a:lnTo>
                    <a:pt x="69" y="76"/>
                  </a:lnTo>
                  <a:lnTo>
                    <a:pt x="11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326"/>
            <p:cNvSpPr>
              <a:spLocks/>
            </p:cNvSpPr>
            <p:nvPr/>
          </p:nvSpPr>
          <p:spPr bwMode="auto">
            <a:xfrm>
              <a:off x="4679950" y="2222500"/>
              <a:ext cx="141288" cy="77788"/>
            </a:xfrm>
            <a:custGeom>
              <a:avLst/>
              <a:gdLst>
                <a:gd name="T0" fmla="*/ 20 w 267"/>
                <a:gd name="T1" fmla="*/ 49 h 147"/>
                <a:gd name="T2" fmla="*/ 0 w 267"/>
                <a:gd name="T3" fmla="*/ 80 h 147"/>
                <a:gd name="T4" fmla="*/ 2 w 267"/>
                <a:gd name="T5" fmla="*/ 128 h 147"/>
                <a:gd name="T6" fmla="*/ 33 w 267"/>
                <a:gd name="T7" fmla="*/ 144 h 147"/>
                <a:gd name="T8" fmla="*/ 131 w 267"/>
                <a:gd name="T9" fmla="*/ 147 h 147"/>
                <a:gd name="T10" fmla="*/ 267 w 267"/>
                <a:gd name="T11" fmla="*/ 32 h 147"/>
                <a:gd name="T12" fmla="*/ 267 w 267"/>
                <a:gd name="T13" fmla="*/ 7 h 147"/>
                <a:gd name="T14" fmla="*/ 252 w 267"/>
                <a:gd name="T15" fmla="*/ 0 h 147"/>
                <a:gd name="T16" fmla="*/ 154 w 267"/>
                <a:gd name="T17" fmla="*/ 44 h 147"/>
                <a:gd name="T18" fmla="*/ 20 w 267"/>
                <a:gd name="T19" fmla="*/ 4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" h="147">
                  <a:moveTo>
                    <a:pt x="20" y="49"/>
                  </a:moveTo>
                  <a:lnTo>
                    <a:pt x="0" y="80"/>
                  </a:lnTo>
                  <a:lnTo>
                    <a:pt x="2" y="128"/>
                  </a:lnTo>
                  <a:lnTo>
                    <a:pt x="33" y="144"/>
                  </a:lnTo>
                  <a:lnTo>
                    <a:pt x="131" y="147"/>
                  </a:lnTo>
                  <a:lnTo>
                    <a:pt x="267" y="32"/>
                  </a:lnTo>
                  <a:lnTo>
                    <a:pt x="267" y="7"/>
                  </a:lnTo>
                  <a:lnTo>
                    <a:pt x="252" y="0"/>
                  </a:lnTo>
                  <a:lnTo>
                    <a:pt x="154" y="44"/>
                  </a:lnTo>
                  <a:lnTo>
                    <a:pt x="2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327"/>
            <p:cNvSpPr>
              <a:spLocks/>
            </p:cNvSpPr>
            <p:nvPr/>
          </p:nvSpPr>
          <p:spPr bwMode="auto">
            <a:xfrm>
              <a:off x="4606925" y="2270125"/>
              <a:ext cx="66675" cy="49213"/>
            </a:xfrm>
            <a:custGeom>
              <a:avLst/>
              <a:gdLst>
                <a:gd name="T0" fmla="*/ 124 w 125"/>
                <a:gd name="T1" fmla="*/ 0 h 91"/>
                <a:gd name="T2" fmla="*/ 81 w 125"/>
                <a:gd name="T3" fmla="*/ 26 h 91"/>
                <a:gd name="T4" fmla="*/ 0 w 125"/>
                <a:gd name="T5" fmla="*/ 44 h 91"/>
                <a:gd name="T6" fmla="*/ 16 w 125"/>
                <a:gd name="T7" fmla="*/ 90 h 91"/>
                <a:gd name="T8" fmla="*/ 73 w 125"/>
                <a:gd name="T9" fmla="*/ 91 h 91"/>
                <a:gd name="T10" fmla="*/ 125 w 125"/>
                <a:gd name="T11" fmla="*/ 48 h 91"/>
                <a:gd name="T12" fmla="*/ 124 w 125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91">
                  <a:moveTo>
                    <a:pt x="124" y="0"/>
                  </a:moveTo>
                  <a:lnTo>
                    <a:pt x="81" y="26"/>
                  </a:lnTo>
                  <a:lnTo>
                    <a:pt x="0" y="44"/>
                  </a:lnTo>
                  <a:lnTo>
                    <a:pt x="16" y="90"/>
                  </a:lnTo>
                  <a:lnTo>
                    <a:pt x="73" y="91"/>
                  </a:lnTo>
                  <a:lnTo>
                    <a:pt x="125" y="48"/>
                  </a:lnTo>
                  <a:lnTo>
                    <a:pt x="1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328"/>
            <p:cNvSpPr>
              <a:spLocks/>
            </p:cNvSpPr>
            <p:nvPr/>
          </p:nvSpPr>
          <p:spPr bwMode="auto">
            <a:xfrm>
              <a:off x="4613275" y="2298700"/>
              <a:ext cx="122238" cy="115888"/>
            </a:xfrm>
            <a:custGeom>
              <a:avLst/>
              <a:gdLst>
                <a:gd name="T0" fmla="*/ 129 w 232"/>
                <a:gd name="T1" fmla="*/ 0 h 217"/>
                <a:gd name="T2" fmla="*/ 68 w 232"/>
                <a:gd name="T3" fmla="*/ 51 h 217"/>
                <a:gd name="T4" fmla="*/ 7 w 232"/>
                <a:gd name="T5" fmla="*/ 51 h 217"/>
                <a:gd name="T6" fmla="*/ 0 w 232"/>
                <a:gd name="T7" fmla="*/ 93 h 217"/>
                <a:gd name="T8" fmla="*/ 27 w 232"/>
                <a:gd name="T9" fmla="*/ 100 h 217"/>
                <a:gd name="T10" fmla="*/ 41 w 232"/>
                <a:gd name="T11" fmla="*/ 80 h 217"/>
                <a:gd name="T12" fmla="*/ 64 w 232"/>
                <a:gd name="T13" fmla="*/ 99 h 217"/>
                <a:gd name="T14" fmla="*/ 81 w 232"/>
                <a:gd name="T15" fmla="*/ 161 h 217"/>
                <a:gd name="T16" fmla="*/ 203 w 232"/>
                <a:gd name="T17" fmla="*/ 217 h 217"/>
                <a:gd name="T18" fmla="*/ 214 w 232"/>
                <a:gd name="T19" fmla="*/ 204 h 217"/>
                <a:gd name="T20" fmla="*/ 91 w 232"/>
                <a:gd name="T21" fmla="*/ 77 h 217"/>
                <a:gd name="T22" fmla="*/ 104 w 232"/>
                <a:gd name="T23" fmla="*/ 54 h 217"/>
                <a:gd name="T24" fmla="*/ 221 w 232"/>
                <a:gd name="T25" fmla="*/ 49 h 217"/>
                <a:gd name="T26" fmla="*/ 232 w 232"/>
                <a:gd name="T27" fmla="*/ 12 h 217"/>
                <a:gd name="T28" fmla="*/ 156 w 232"/>
                <a:gd name="T29" fmla="*/ 14 h 217"/>
                <a:gd name="T30" fmla="*/ 129 w 232"/>
                <a:gd name="T3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2" h="217">
                  <a:moveTo>
                    <a:pt x="129" y="0"/>
                  </a:moveTo>
                  <a:lnTo>
                    <a:pt x="68" y="51"/>
                  </a:lnTo>
                  <a:lnTo>
                    <a:pt x="7" y="51"/>
                  </a:lnTo>
                  <a:lnTo>
                    <a:pt x="0" y="93"/>
                  </a:lnTo>
                  <a:lnTo>
                    <a:pt x="27" y="100"/>
                  </a:lnTo>
                  <a:lnTo>
                    <a:pt x="41" y="80"/>
                  </a:lnTo>
                  <a:lnTo>
                    <a:pt x="64" y="99"/>
                  </a:lnTo>
                  <a:lnTo>
                    <a:pt x="81" y="161"/>
                  </a:lnTo>
                  <a:lnTo>
                    <a:pt x="203" y="217"/>
                  </a:lnTo>
                  <a:lnTo>
                    <a:pt x="214" y="204"/>
                  </a:lnTo>
                  <a:lnTo>
                    <a:pt x="91" y="77"/>
                  </a:lnTo>
                  <a:lnTo>
                    <a:pt x="104" y="54"/>
                  </a:lnTo>
                  <a:lnTo>
                    <a:pt x="221" y="49"/>
                  </a:lnTo>
                  <a:lnTo>
                    <a:pt x="232" y="12"/>
                  </a:lnTo>
                  <a:lnTo>
                    <a:pt x="156" y="14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329"/>
            <p:cNvSpPr>
              <a:spLocks/>
            </p:cNvSpPr>
            <p:nvPr/>
          </p:nvSpPr>
          <p:spPr bwMode="auto">
            <a:xfrm>
              <a:off x="4670425" y="2332038"/>
              <a:ext cx="82550" cy="69850"/>
            </a:xfrm>
            <a:custGeom>
              <a:avLst/>
              <a:gdLst>
                <a:gd name="T0" fmla="*/ 6 w 158"/>
                <a:gd name="T1" fmla="*/ 2 h 131"/>
                <a:gd name="T2" fmla="*/ 0 w 158"/>
                <a:gd name="T3" fmla="*/ 13 h 131"/>
                <a:gd name="T4" fmla="*/ 115 w 158"/>
                <a:gd name="T5" fmla="*/ 131 h 131"/>
                <a:gd name="T6" fmla="*/ 158 w 158"/>
                <a:gd name="T7" fmla="*/ 69 h 131"/>
                <a:gd name="T8" fmla="*/ 156 w 158"/>
                <a:gd name="T9" fmla="*/ 44 h 131"/>
                <a:gd name="T10" fmla="*/ 119 w 158"/>
                <a:gd name="T11" fmla="*/ 0 h 131"/>
                <a:gd name="T12" fmla="*/ 6 w 158"/>
                <a:gd name="T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" h="131">
                  <a:moveTo>
                    <a:pt x="6" y="2"/>
                  </a:moveTo>
                  <a:lnTo>
                    <a:pt x="0" y="13"/>
                  </a:lnTo>
                  <a:lnTo>
                    <a:pt x="115" y="131"/>
                  </a:lnTo>
                  <a:lnTo>
                    <a:pt x="158" y="69"/>
                  </a:lnTo>
                  <a:lnTo>
                    <a:pt x="156" y="44"/>
                  </a:lnTo>
                  <a:lnTo>
                    <a:pt x="119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330"/>
            <p:cNvSpPr>
              <a:spLocks/>
            </p:cNvSpPr>
            <p:nvPr/>
          </p:nvSpPr>
          <p:spPr bwMode="auto">
            <a:xfrm>
              <a:off x="4464050" y="2276475"/>
              <a:ext cx="263525" cy="279400"/>
            </a:xfrm>
            <a:custGeom>
              <a:avLst/>
              <a:gdLst>
                <a:gd name="T0" fmla="*/ 11 w 498"/>
                <a:gd name="T1" fmla="*/ 74 h 529"/>
                <a:gd name="T2" fmla="*/ 0 w 498"/>
                <a:gd name="T3" fmla="*/ 102 h 529"/>
                <a:gd name="T4" fmla="*/ 3 w 498"/>
                <a:gd name="T5" fmla="*/ 130 h 529"/>
                <a:gd name="T6" fmla="*/ 44 w 498"/>
                <a:gd name="T7" fmla="*/ 179 h 529"/>
                <a:gd name="T8" fmla="*/ 108 w 498"/>
                <a:gd name="T9" fmla="*/ 176 h 529"/>
                <a:gd name="T10" fmla="*/ 250 w 498"/>
                <a:gd name="T11" fmla="*/ 341 h 529"/>
                <a:gd name="T12" fmla="*/ 340 w 498"/>
                <a:gd name="T13" fmla="*/ 367 h 529"/>
                <a:gd name="T14" fmla="*/ 391 w 498"/>
                <a:gd name="T15" fmla="*/ 416 h 529"/>
                <a:gd name="T16" fmla="*/ 405 w 498"/>
                <a:gd name="T17" fmla="*/ 529 h 529"/>
                <a:gd name="T18" fmla="*/ 432 w 498"/>
                <a:gd name="T19" fmla="*/ 513 h 529"/>
                <a:gd name="T20" fmla="*/ 456 w 498"/>
                <a:gd name="T21" fmla="*/ 452 h 529"/>
                <a:gd name="T22" fmla="*/ 450 w 498"/>
                <a:gd name="T23" fmla="*/ 407 h 529"/>
                <a:gd name="T24" fmla="*/ 492 w 498"/>
                <a:gd name="T25" fmla="*/ 403 h 529"/>
                <a:gd name="T26" fmla="*/ 498 w 498"/>
                <a:gd name="T27" fmla="*/ 379 h 529"/>
                <a:gd name="T28" fmla="*/ 381 w 498"/>
                <a:gd name="T29" fmla="*/ 322 h 529"/>
                <a:gd name="T30" fmla="*/ 270 w 498"/>
                <a:gd name="T31" fmla="*/ 212 h 529"/>
                <a:gd name="T32" fmla="*/ 225 w 498"/>
                <a:gd name="T33" fmla="*/ 147 h 529"/>
                <a:gd name="T34" fmla="*/ 215 w 498"/>
                <a:gd name="T35" fmla="*/ 85 h 529"/>
                <a:gd name="T36" fmla="*/ 271 w 498"/>
                <a:gd name="T37" fmla="*/ 71 h 529"/>
                <a:gd name="T38" fmla="*/ 256 w 498"/>
                <a:gd name="T39" fmla="*/ 31 h 529"/>
                <a:gd name="T40" fmla="*/ 222 w 498"/>
                <a:gd name="T41" fmla="*/ 1 h 529"/>
                <a:gd name="T42" fmla="*/ 191 w 498"/>
                <a:gd name="T43" fmla="*/ 0 h 529"/>
                <a:gd name="T44" fmla="*/ 150 w 498"/>
                <a:gd name="T45" fmla="*/ 11 h 529"/>
                <a:gd name="T46" fmla="*/ 110 w 498"/>
                <a:gd name="T47" fmla="*/ 67 h 529"/>
                <a:gd name="T48" fmla="*/ 87 w 498"/>
                <a:gd name="T49" fmla="*/ 82 h 529"/>
                <a:gd name="T50" fmla="*/ 50 w 498"/>
                <a:gd name="T51" fmla="*/ 60 h 529"/>
                <a:gd name="T52" fmla="*/ 11 w 498"/>
                <a:gd name="T53" fmla="*/ 74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8" h="529">
                  <a:moveTo>
                    <a:pt x="11" y="74"/>
                  </a:moveTo>
                  <a:lnTo>
                    <a:pt x="0" y="102"/>
                  </a:lnTo>
                  <a:lnTo>
                    <a:pt x="3" y="130"/>
                  </a:lnTo>
                  <a:lnTo>
                    <a:pt x="44" y="179"/>
                  </a:lnTo>
                  <a:lnTo>
                    <a:pt x="108" y="176"/>
                  </a:lnTo>
                  <a:lnTo>
                    <a:pt x="250" y="341"/>
                  </a:lnTo>
                  <a:lnTo>
                    <a:pt x="340" y="367"/>
                  </a:lnTo>
                  <a:lnTo>
                    <a:pt x="391" y="416"/>
                  </a:lnTo>
                  <a:lnTo>
                    <a:pt x="405" y="529"/>
                  </a:lnTo>
                  <a:lnTo>
                    <a:pt x="432" y="513"/>
                  </a:lnTo>
                  <a:lnTo>
                    <a:pt x="456" y="452"/>
                  </a:lnTo>
                  <a:lnTo>
                    <a:pt x="450" y="407"/>
                  </a:lnTo>
                  <a:lnTo>
                    <a:pt x="492" y="403"/>
                  </a:lnTo>
                  <a:lnTo>
                    <a:pt x="498" y="379"/>
                  </a:lnTo>
                  <a:lnTo>
                    <a:pt x="381" y="322"/>
                  </a:lnTo>
                  <a:lnTo>
                    <a:pt x="270" y="212"/>
                  </a:lnTo>
                  <a:lnTo>
                    <a:pt x="225" y="147"/>
                  </a:lnTo>
                  <a:lnTo>
                    <a:pt x="215" y="85"/>
                  </a:lnTo>
                  <a:lnTo>
                    <a:pt x="271" y="71"/>
                  </a:lnTo>
                  <a:lnTo>
                    <a:pt x="256" y="31"/>
                  </a:lnTo>
                  <a:lnTo>
                    <a:pt x="222" y="1"/>
                  </a:lnTo>
                  <a:lnTo>
                    <a:pt x="191" y="0"/>
                  </a:lnTo>
                  <a:lnTo>
                    <a:pt x="150" y="11"/>
                  </a:lnTo>
                  <a:lnTo>
                    <a:pt x="110" y="67"/>
                  </a:lnTo>
                  <a:lnTo>
                    <a:pt x="87" y="82"/>
                  </a:lnTo>
                  <a:lnTo>
                    <a:pt x="50" y="60"/>
                  </a:lnTo>
                  <a:lnTo>
                    <a:pt x="11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331"/>
            <p:cNvSpPr>
              <a:spLocks/>
            </p:cNvSpPr>
            <p:nvPr/>
          </p:nvSpPr>
          <p:spPr bwMode="auto">
            <a:xfrm>
              <a:off x="4594225" y="2544763"/>
              <a:ext cx="58738" cy="47625"/>
            </a:xfrm>
            <a:custGeom>
              <a:avLst/>
              <a:gdLst>
                <a:gd name="T0" fmla="*/ 110 w 111"/>
                <a:gd name="T1" fmla="*/ 14 h 90"/>
                <a:gd name="T2" fmla="*/ 85 w 111"/>
                <a:gd name="T3" fmla="*/ 0 h 90"/>
                <a:gd name="T4" fmla="*/ 0 w 111"/>
                <a:gd name="T5" fmla="*/ 14 h 90"/>
                <a:gd name="T6" fmla="*/ 3 w 111"/>
                <a:gd name="T7" fmla="*/ 36 h 90"/>
                <a:gd name="T8" fmla="*/ 79 w 111"/>
                <a:gd name="T9" fmla="*/ 75 h 90"/>
                <a:gd name="T10" fmla="*/ 92 w 111"/>
                <a:gd name="T11" fmla="*/ 87 h 90"/>
                <a:gd name="T12" fmla="*/ 111 w 111"/>
                <a:gd name="T13" fmla="*/ 90 h 90"/>
                <a:gd name="T14" fmla="*/ 110 w 111"/>
                <a:gd name="T15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90">
                  <a:moveTo>
                    <a:pt x="110" y="14"/>
                  </a:moveTo>
                  <a:lnTo>
                    <a:pt x="85" y="0"/>
                  </a:lnTo>
                  <a:lnTo>
                    <a:pt x="0" y="14"/>
                  </a:lnTo>
                  <a:lnTo>
                    <a:pt x="3" y="36"/>
                  </a:lnTo>
                  <a:lnTo>
                    <a:pt x="79" y="75"/>
                  </a:lnTo>
                  <a:lnTo>
                    <a:pt x="92" y="87"/>
                  </a:lnTo>
                  <a:lnTo>
                    <a:pt x="111" y="90"/>
                  </a:lnTo>
                  <a:lnTo>
                    <a:pt x="11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332"/>
            <p:cNvSpPr>
              <a:spLocks/>
            </p:cNvSpPr>
            <p:nvPr/>
          </p:nvSpPr>
          <p:spPr bwMode="auto">
            <a:xfrm>
              <a:off x="4638675" y="2619375"/>
              <a:ext cx="20638" cy="23813"/>
            </a:xfrm>
            <a:custGeom>
              <a:avLst/>
              <a:gdLst>
                <a:gd name="T0" fmla="*/ 29 w 39"/>
                <a:gd name="T1" fmla="*/ 0 h 46"/>
                <a:gd name="T2" fmla="*/ 0 w 39"/>
                <a:gd name="T3" fmla="*/ 6 h 46"/>
                <a:gd name="T4" fmla="*/ 1 w 39"/>
                <a:gd name="T5" fmla="*/ 37 h 46"/>
                <a:gd name="T6" fmla="*/ 27 w 39"/>
                <a:gd name="T7" fmla="*/ 46 h 46"/>
                <a:gd name="T8" fmla="*/ 39 w 39"/>
                <a:gd name="T9" fmla="*/ 36 h 46"/>
                <a:gd name="T10" fmla="*/ 29 w 39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6">
                  <a:moveTo>
                    <a:pt x="29" y="0"/>
                  </a:moveTo>
                  <a:lnTo>
                    <a:pt x="0" y="6"/>
                  </a:lnTo>
                  <a:lnTo>
                    <a:pt x="1" y="37"/>
                  </a:lnTo>
                  <a:lnTo>
                    <a:pt x="27" y="46"/>
                  </a:lnTo>
                  <a:lnTo>
                    <a:pt x="39" y="3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333"/>
            <p:cNvSpPr>
              <a:spLocks/>
            </p:cNvSpPr>
            <p:nvPr/>
          </p:nvSpPr>
          <p:spPr bwMode="auto">
            <a:xfrm>
              <a:off x="4818063" y="2071688"/>
              <a:ext cx="381000" cy="269875"/>
            </a:xfrm>
            <a:custGeom>
              <a:avLst/>
              <a:gdLst>
                <a:gd name="T0" fmla="*/ 84 w 722"/>
                <a:gd name="T1" fmla="*/ 53 h 511"/>
                <a:gd name="T2" fmla="*/ 34 w 722"/>
                <a:gd name="T3" fmla="*/ 82 h 511"/>
                <a:gd name="T4" fmla="*/ 46 w 722"/>
                <a:gd name="T5" fmla="*/ 134 h 511"/>
                <a:gd name="T6" fmla="*/ 0 w 722"/>
                <a:gd name="T7" fmla="*/ 231 h 511"/>
                <a:gd name="T8" fmla="*/ 0 w 722"/>
                <a:gd name="T9" fmla="*/ 273 h 511"/>
                <a:gd name="T10" fmla="*/ 22 w 722"/>
                <a:gd name="T11" fmla="*/ 287 h 511"/>
                <a:gd name="T12" fmla="*/ 160 w 722"/>
                <a:gd name="T13" fmla="*/ 294 h 511"/>
                <a:gd name="T14" fmla="*/ 199 w 722"/>
                <a:gd name="T15" fmla="*/ 262 h 511"/>
                <a:gd name="T16" fmla="*/ 240 w 722"/>
                <a:gd name="T17" fmla="*/ 275 h 511"/>
                <a:gd name="T18" fmla="*/ 300 w 722"/>
                <a:gd name="T19" fmla="*/ 355 h 511"/>
                <a:gd name="T20" fmla="*/ 256 w 722"/>
                <a:gd name="T21" fmla="*/ 433 h 511"/>
                <a:gd name="T22" fmla="*/ 308 w 722"/>
                <a:gd name="T23" fmla="*/ 448 h 511"/>
                <a:gd name="T24" fmla="*/ 376 w 722"/>
                <a:gd name="T25" fmla="*/ 370 h 511"/>
                <a:gd name="T26" fmla="*/ 415 w 722"/>
                <a:gd name="T27" fmla="*/ 377 h 511"/>
                <a:gd name="T28" fmla="*/ 450 w 722"/>
                <a:gd name="T29" fmla="*/ 402 h 511"/>
                <a:gd name="T30" fmla="*/ 419 w 722"/>
                <a:gd name="T31" fmla="*/ 444 h 511"/>
                <a:gd name="T32" fmla="*/ 461 w 722"/>
                <a:gd name="T33" fmla="*/ 511 h 511"/>
                <a:gd name="T34" fmla="*/ 507 w 722"/>
                <a:gd name="T35" fmla="*/ 511 h 511"/>
                <a:gd name="T36" fmla="*/ 530 w 722"/>
                <a:gd name="T37" fmla="*/ 466 h 511"/>
                <a:gd name="T38" fmla="*/ 579 w 722"/>
                <a:gd name="T39" fmla="*/ 456 h 511"/>
                <a:gd name="T40" fmla="*/ 580 w 722"/>
                <a:gd name="T41" fmla="*/ 421 h 511"/>
                <a:gd name="T42" fmla="*/ 491 w 722"/>
                <a:gd name="T43" fmla="*/ 406 h 511"/>
                <a:gd name="T44" fmla="*/ 494 w 722"/>
                <a:gd name="T45" fmla="*/ 368 h 511"/>
                <a:gd name="T46" fmla="*/ 580 w 722"/>
                <a:gd name="T47" fmla="*/ 368 h 511"/>
                <a:gd name="T48" fmla="*/ 674 w 722"/>
                <a:gd name="T49" fmla="*/ 293 h 511"/>
                <a:gd name="T50" fmla="*/ 716 w 722"/>
                <a:gd name="T51" fmla="*/ 256 h 511"/>
                <a:gd name="T52" fmla="*/ 722 w 722"/>
                <a:gd name="T53" fmla="*/ 142 h 511"/>
                <a:gd name="T54" fmla="*/ 537 w 722"/>
                <a:gd name="T55" fmla="*/ 125 h 511"/>
                <a:gd name="T56" fmla="*/ 461 w 722"/>
                <a:gd name="T57" fmla="*/ 19 h 511"/>
                <a:gd name="T58" fmla="*/ 409 w 722"/>
                <a:gd name="T59" fmla="*/ 0 h 511"/>
                <a:gd name="T60" fmla="*/ 346 w 722"/>
                <a:gd name="T61" fmla="*/ 3 h 511"/>
                <a:gd name="T62" fmla="*/ 317 w 722"/>
                <a:gd name="T63" fmla="*/ 74 h 511"/>
                <a:gd name="T64" fmla="*/ 187 w 722"/>
                <a:gd name="T65" fmla="*/ 75 h 511"/>
                <a:gd name="T66" fmla="*/ 145 w 722"/>
                <a:gd name="T67" fmla="*/ 56 h 511"/>
                <a:gd name="T68" fmla="*/ 84 w 722"/>
                <a:gd name="T69" fmla="*/ 53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2" h="511">
                  <a:moveTo>
                    <a:pt x="84" y="53"/>
                  </a:moveTo>
                  <a:lnTo>
                    <a:pt x="34" y="82"/>
                  </a:lnTo>
                  <a:lnTo>
                    <a:pt x="46" y="134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22" y="287"/>
                  </a:lnTo>
                  <a:lnTo>
                    <a:pt x="160" y="294"/>
                  </a:lnTo>
                  <a:lnTo>
                    <a:pt x="199" y="262"/>
                  </a:lnTo>
                  <a:lnTo>
                    <a:pt x="240" y="275"/>
                  </a:lnTo>
                  <a:lnTo>
                    <a:pt x="300" y="355"/>
                  </a:lnTo>
                  <a:lnTo>
                    <a:pt x="256" y="433"/>
                  </a:lnTo>
                  <a:lnTo>
                    <a:pt x="308" y="448"/>
                  </a:lnTo>
                  <a:lnTo>
                    <a:pt x="376" y="370"/>
                  </a:lnTo>
                  <a:lnTo>
                    <a:pt x="415" y="377"/>
                  </a:lnTo>
                  <a:lnTo>
                    <a:pt x="450" y="402"/>
                  </a:lnTo>
                  <a:lnTo>
                    <a:pt x="419" y="444"/>
                  </a:lnTo>
                  <a:lnTo>
                    <a:pt x="461" y="511"/>
                  </a:lnTo>
                  <a:lnTo>
                    <a:pt x="507" y="511"/>
                  </a:lnTo>
                  <a:lnTo>
                    <a:pt x="530" y="466"/>
                  </a:lnTo>
                  <a:lnTo>
                    <a:pt x="579" y="456"/>
                  </a:lnTo>
                  <a:lnTo>
                    <a:pt x="580" y="421"/>
                  </a:lnTo>
                  <a:lnTo>
                    <a:pt x="491" y="406"/>
                  </a:lnTo>
                  <a:lnTo>
                    <a:pt x="494" y="368"/>
                  </a:lnTo>
                  <a:lnTo>
                    <a:pt x="580" y="368"/>
                  </a:lnTo>
                  <a:lnTo>
                    <a:pt x="674" y="293"/>
                  </a:lnTo>
                  <a:lnTo>
                    <a:pt x="716" y="256"/>
                  </a:lnTo>
                  <a:lnTo>
                    <a:pt x="722" y="142"/>
                  </a:lnTo>
                  <a:lnTo>
                    <a:pt x="537" y="125"/>
                  </a:lnTo>
                  <a:lnTo>
                    <a:pt x="461" y="19"/>
                  </a:lnTo>
                  <a:lnTo>
                    <a:pt x="409" y="0"/>
                  </a:lnTo>
                  <a:lnTo>
                    <a:pt x="346" y="3"/>
                  </a:lnTo>
                  <a:lnTo>
                    <a:pt x="317" y="74"/>
                  </a:lnTo>
                  <a:lnTo>
                    <a:pt x="187" y="75"/>
                  </a:lnTo>
                  <a:lnTo>
                    <a:pt x="145" y="56"/>
                  </a:lnTo>
                  <a:lnTo>
                    <a:pt x="84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334"/>
            <p:cNvSpPr>
              <a:spLocks/>
            </p:cNvSpPr>
            <p:nvPr/>
          </p:nvSpPr>
          <p:spPr bwMode="auto">
            <a:xfrm>
              <a:off x="4908550" y="2217738"/>
              <a:ext cx="60325" cy="82550"/>
            </a:xfrm>
            <a:custGeom>
              <a:avLst/>
              <a:gdLst>
                <a:gd name="T0" fmla="*/ 0 w 113"/>
                <a:gd name="T1" fmla="*/ 28 h 157"/>
                <a:gd name="T2" fmla="*/ 53 w 113"/>
                <a:gd name="T3" fmla="*/ 109 h 157"/>
                <a:gd name="T4" fmla="*/ 49 w 113"/>
                <a:gd name="T5" fmla="*/ 156 h 157"/>
                <a:gd name="T6" fmla="*/ 68 w 113"/>
                <a:gd name="T7" fmla="*/ 157 h 157"/>
                <a:gd name="T8" fmla="*/ 113 w 113"/>
                <a:gd name="T9" fmla="*/ 81 h 157"/>
                <a:gd name="T10" fmla="*/ 59 w 113"/>
                <a:gd name="T11" fmla="*/ 13 h 157"/>
                <a:gd name="T12" fmla="*/ 27 w 113"/>
                <a:gd name="T13" fmla="*/ 0 h 157"/>
                <a:gd name="T14" fmla="*/ 0 w 113"/>
                <a:gd name="T15" fmla="*/ 2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157">
                  <a:moveTo>
                    <a:pt x="0" y="28"/>
                  </a:moveTo>
                  <a:lnTo>
                    <a:pt x="53" y="109"/>
                  </a:lnTo>
                  <a:lnTo>
                    <a:pt x="49" y="156"/>
                  </a:lnTo>
                  <a:lnTo>
                    <a:pt x="68" y="157"/>
                  </a:lnTo>
                  <a:lnTo>
                    <a:pt x="113" y="81"/>
                  </a:lnTo>
                  <a:lnTo>
                    <a:pt x="59" y="13"/>
                  </a:lnTo>
                  <a:lnTo>
                    <a:pt x="27" y="0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335"/>
            <p:cNvSpPr>
              <a:spLocks/>
            </p:cNvSpPr>
            <p:nvPr/>
          </p:nvSpPr>
          <p:spPr bwMode="auto">
            <a:xfrm>
              <a:off x="4775200" y="2230438"/>
              <a:ext cx="207963" cy="141288"/>
            </a:xfrm>
            <a:custGeom>
              <a:avLst/>
              <a:gdLst>
                <a:gd name="T0" fmla="*/ 104 w 393"/>
                <a:gd name="T1" fmla="*/ 0 h 267"/>
                <a:gd name="T2" fmla="*/ 100 w 393"/>
                <a:gd name="T3" fmla="*/ 25 h 267"/>
                <a:gd name="T4" fmla="*/ 0 w 393"/>
                <a:gd name="T5" fmla="*/ 107 h 267"/>
                <a:gd name="T6" fmla="*/ 83 w 393"/>
                <a:gd name="T7" fmla="*/ 229 h 267"/>
                <a:gd name="T8" fmla="*/ 136 w 393"/>
                <a:gd name="T9" fmla="*/ 267 h 267"/>
                <a:gd name="T10" fmla="*/ 232 w 393"/>
                <a:gd name="T11" fmla="*/ 267 h 267"/>
                <a:gd name="T12" fmla="*/ 263 w 393"/>
                <a:gd name="T13" fmla="*/ 240 h 267"/>
                <a:gd name="T14" fmla="*/ 306 w 393"/>
                <a:gd name="T15" fmla="*/ 234 h 267"/>
                <a:gd name="T16" fmla="*/ 337 w 393"/>
                <a:gd name="T17" fmla="*/ 254 h 267"/>
                <a:gd name="T18" fmla="*/ 393 w 393"/>
                <a:gd name="T19" fmla="*/ 190 h 267"/>
                <a:gd name="T20" fmla="*/ 383 w 393"/>
                <a:gd name="T21" fmla="*/ 158 h 267"/>
                <a:gd name="T22" fmla="*/ 326 w 393"/>
                <a:gd name="T23" fmla="*/ 144 h 267"/>
                <a:gd name="T24" fmla="*/ 287 w 393"/>
                <a:gd name="T25" fmla="*/ 142 h 267"/>
                <a:gd name="T26" fmla="*/ 289 w 393"/>
                <a:gd name="T27" fmla="*/ 87 h 267"/>
                <a:gd name="T28" fmla="*/ 238 w 393"/>
                <a:gd name="T29" fmla="*/ 6 h 267"/>
                <a:gd name="T30" fmla="*/ 104 w 393"/>
                <a:gd name="T3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3" h="267">
                  <a:moveTo>
                    <a:pt x="104" y="0"/>
                  </a:moveTo>
                  <a:lnTo>
                    <a:pt x="100" y="25"/>
                  </a:lnTo>
                  <a:lnTo>
                    <a:pt x="0" y="107"/>
                  </a:lnTo>
                  <a:lnTo>
                    <a:pt x="83" y="229"/>
                  </a:lnTo>
                  <a:lnTo>
                    <a:pt x="136" y="267"/>
                  </a:lnTo>
                  <a:lnTo>
                    <a:pt x="232" y="267"/>
                  </a:lnTo>
                  <a:lnTo>
                    <a:pt x="263" y="240"/>
                  </a:lnTo>
                  <a:lnTo>
                    <a:pt x="306" y="234"/>
                  </a:lnTo>
                  <a:lnTo>
                    <a:pt x="337" y="254"/>
                  </a:lnTo>
                  <a:lnTo>
                    <a:pt x="393" y="190"/>
                  </a:lnTo>
                  <a:lnTo>
                    <a:pt x="383" y="158"/>
                  </a:lnTo>
                  <a:lnTo>
                    <a:pt x="326" y="144"/>
                  </a:lnTo>
                  <a:lnTo>
                    <a:pt x="287" y="142"/>
                  </a:lnTo>
                  <a:lnTo>
                    <a:pt x="289" y="87"/>
                  </a:lnTo>
                  <a:lnTo>
                    <a:pt x="238" y="6"/>
                  </a:lnTo>
                  <a:lnTo>
                    <a:pt x="1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336"/>
            <p:cNvSpPr>
              <a:spLocks/>
            </p:cNvSpPr>
            <p:nvPr/>
          </p:nvSpPr>
          <p:spPr bwMode="auto">
            <a:xfrm>
              <a:off x="4732338" y="2293938"/>
              <a:ext cx="85725" cy="131763"/>
            </a:xfrm>
            <a:custGeom>
              <a:avLst/>
              <a:gdLst>
                <a:gd name="T0" fmla="*/ 71 w 161"/>
                <a:gd name="T1" fmla="*/ 0 h 248"/>
                <a:gd name="T2" fmla="*/ 37 w 161"/>
                <a:gd name="T3" fmla="*/ 26 h 248"/>
                <a:gd name="T4" fmla="*/ 19 w 161"/>
                <a:gd name="T5" fmla="*/ 26 h 248"/>
                <a:gd name="T6" fmla="*/ 8 w 161"/>
                <a:gd name="T7" fmla="*/ 63 h 248"/>
                <a:gd name="T8" fmla="*/ 49 w 161"/>
                <a:gd name="T9" fmla="*/ 110 h 248"/>
                <a:gd name="T10" fmla="*/ 52 w 161"/>
                <a:gd name="T11" fmla="*/ 149 h 248"/>
                <a:gd name="T12" fmla="*/ 0 w 161"/>
                <a:gd name="T13" fmla="*/ 221 h 248"/>
                <a:gd name="T14" fmla="*/ 8 w 161"/>
                <a:gd name="T15" fmla="*/ 243 h 248"/>
                <a:gd name="T16" fmla="*/ 38 w 161"/>
                <a:gd name="T17" fmla="*/ 248 h 248"/>
                <a:gd name="T18" fmla="*/ 61 w 161"/>
                <a:gd name="T19" fmla="*/ 217 h 248"/>
                <a:gd name="T20" fmla="*/ 74 w 161"/>
                <a:gd name="T21" fmla="*/ 216 h 248"/>
                <a:gd name="T22" fmla="*/ 95 w 161"/>
                <a:gd name="T23" fmla="*/ 236 h 248"/>
                <a:gd name="T24" fmla="*/ 161 w 161"/>
                <a:gd name="T25" fmla="*/ 217 h 248"/>
                <a:gd name="T26" fmla="*/ 155 w 161"/>
                <a:gd name="T27" fmla="*/ 123 h 248"/>
                <a:gd name="T28" fmla="*/ 71 w 161"/>
                <a:gd name="T2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248">
                  <a:moveTo>
                    <a:pt x="71" y="0"/>
                  </a:moveTo>
                  <a:lnTo>
                    <a:pt x="37" y="26"/>
                  </a:lnTo>
                  <a:lnTo>
                    <a:pt x="19" y="26"/>
                  </a:lnTo>
                  <a:lnTo>
                    <a:pt x="8" y="63"/>
                  </a:lnTo>
                  <a:lnTo>
                    <a:pt x="49" y="110"/>
                  </a:lnTo>
                  <a:lnTo>
                    <a:pt x="52" y="149"/>
                  </a:lnTo>
                  <a:lnTo>
                    <a:pt x="0" y="221"/>
                  </a:lnTo>
                  <a:lnTo>
                    <a:pt x="8" y="243"/>
                  </a:lnTo>
                  <a:lnTo>
                    <a:pt x="38" y="248"/>
                  </a:lnTo>
                  <a:lnTo>
                    <a:pt x="61" y="217"/>
                  </a:lnTo>
                  <a:lnTo>
                    <a:pt x="74" y="216"/>
                  </a:lnTo>
                  <a:lnTo>
                    <a:pt x="95" y="236"/>
                  </a:lnTo>
                  <a:lnTo>
                    <a:pt x="161" y="217"/>
                  </a:lnTo>
                  <a:lnTo>
                    <a:pt x="155" y="123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337"/>
            <p:cNvSpPr>
              <a:spLocks/>
            </p:cNvSpPr>
            <p:nvPr/>
          </p:nvSpPr>
          <p:spPr bwMode="auto">
            <a:xfrm>
              <a:off x="4824413" y="2363788"/>
              <a:ext cx="123825" cy="79375"/>
            </a:xfrm>
            <a:custGeom>
              <a:avLst/>
              <a:gdLst>
                <a:gd name="T0" fmla="*/ 0 w 235"/>
                <a:gd name="T1" fmla="*/ 2 h 149"/>
                <a:gd name="T2" fmla="*/ 3 w 235"/>
                <a:gd name="T3" fmla="*/ 87 h 149"/>
                <a:gd name="T4" fmla="*/ 31 w 235"/>
                <a:gd name="T5" fmla="*/ 148 h 149"/>
                <a:gd name="T6" fmla="*/ 139 w 235"/>
                <a:gd name="T7" fmla="*/ 149 h 149"/>
                <a:gd name="T8" fmla="*/ 187 w 235"/>
                <a:gd name="T9" fmla="*/ 114 h 149"/>
                <a:gd name="T10" fmla="*/ 235 w 235"/>
                <a:gd name="T11" fmla="*/ 96 h 149"/>
                <a:gd name="T12" fmla="*/ 224 w 235"/>
                <a:gd name="T13" fmla="*/ 41 h 149"/>
                <a:gd name="T14" fmla="*/ 235 w 235"/>
                <a:gd name="T15" fmla="*/ 12 h 149"/>
                <a:gd name="T16" fmla="*/ 211 w 235"/>
                <a:gd name="T17" fmla="*/ 0 h 149"/>
                <a:gd name="T18" fmla="*/ 177 w 235"/>
                <a:gd name="T19" fmla="*/ 3 h 149"/>
                <a:gd name="T20" fmla="*/ 151 w 235"/>
                <a:gd name="T21" fmla="*/ 29 h 149"/>
                <a:gd name="T22" fmla="*/ 41 w 235"/>
                <a:gd name="T23" fmla="*/ 29 h 149"/>
                <a:gd name="T24" fmla="*/ 0 w 235"/>
                <a:gd name="T25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5" h="149">
                  <a:moveTo>
                    <a:pt x="0" y="2"/>
                  </a:moveTo>
                  <a:lnTo>
                    <a:pt x="3" y="87"/>
                  </a:lnTo>
                  <a:lnTo>
                    <a:pt x="31" y="148"/>
                  </a:lnTo>
                  <a:lnTo>
                    <a:pt x="139" y="149"/>
                  </a:lnTo>
                  <a:lnTo>
                    <a:pt x="187" y="114"/>
                  </a:lnTo>
                  <a:lnTo>
                    <a:pt x="235" y="96"/>
                  </a:lnTo>
                  <a:lnTo>
                    <a:pt x="224" y="41"/>
                  </a:lnTo>
                  <a:lnTo>
                    <a:pt x="235" y="12"/>
                  </a:lnTo>
                  <a:lnTo>
                    <a:pt x="211" y="0"/>
                  </a:lnTo>
                  <a:lnTo>
                    <a:pt x="177" y="3"/>
                  </a:lnTo>
                  <a:lnTo>
                    <a:pt x="151" y="29"/>
                  </a:lnTo>
                  <a:lnTo>
                    <a:pt x="41" y="29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338"/>
            <p:cNvSpPr>
              <a:spLocks/>
            </p:cNvSpPr>
            <p:nvPr/>
          </p:nvSpPr>
          <p:spPr bwMode="auto">
            <a:xfrm>
              <a:off x="4757738" y="2416175"/>
              <a:ext cx="34925" cy="79375"/>
            </a:xfrm>
            <a:custGeom>
              <a:avLst/>
              <a:gdLst>
                <a:gd name="T0" fmla="*/ 0 w 66"/>
                <a:gd name="T1" fmla="*/ 30 h 152"/>
                <a:gd name="T2" fmla="*/ 0 w 66"/>
                <a:gd name="T3" fmla="*/ 110 h 152"/>
                <a:gd name="T4" fmla="*/ 22 w 66"/>
                <a:gd name="T5" fmla="*/ 152 h 152"/>
                <a:gd name="T6" fmla="*/ 38 w 66"/>
                <a:gd name="T7" fmla="*/ 150 h 152"/>
                <a:gd name="T8" fmla="*/ 66 w 66"/>
                <a:gd name="T9" fmla="*/ 100 h 152"/>
                <a:gd name="T10" fmla="*/ 49 w 66"/>
                <a:gd name="T11" fmla="*/ 76 h 152"/>
                <a:gd name="T12" fmla="*/ 43 w 66"/>
                <a:gd name="T13" fmla="*/ 20 h 152"/>
                <a:gd name="T14" fmla="*/ 22 w 66"/>
                <a:gd name="T15" fmla="*/ 0 h 152"/>
                <a:gd name="T16" fmla="*/ 0 w 66"/>
                <a:gd name="T17" fmla="*/ 3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52">
                  <a:moveTo>
                    <a:pt x="0" y="30"/>
                  </a:moveTo>
                  <a:lnTo>
                    <a:pt x="0" y="110"/>
                  </a:lnTo>
                  <a:lnTo>
                    <a:pt x="22" y="152"/>
                  </a:lnTo>
                  <a:lnTo>
                    <a:pt x="38" y="150"/>
                  </a:lnTo>
                  <a:lnTo>
                    <a:pt x="66" y="100"/>
                  </a:lnTo>
                  <a:lnTo>
                    <a:pt x="49" y="76"/>
                  </a:lnTo>
                  <a:lnTo>
                    <a:pt x="43" y="20"/>
                  </a:lnTo>
                  <a:lnTo>
                    <a:pt x="22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339"/>
            <p:cNvSpPr>
              <a:spLocks/>
            </p:cNvSpPr>
            <p:nvPr/>
          </p:nvSpPr>
          <p:spPr bwMode="auto">
            <a:xfrm>
              <a:off x="4789488" y="2416175"/>
              <a:ext cx="44450" cy="44450"/>
            </a:xfrm>
            <a:custGeom>
              <a:avLst/>
              <a:gdLst>
                <a:gd name="T0" fmla="*/ 57 w 85"/>
                <a:gd name="T1" fmla="*/ 0 h 85"/>
                <a:gd name="T2" fmla="*/ 0 w 85"/>
                <a:gd name="T3" fmla="*/ 19 h 85"/>
                <a:gd name="T4" fmla="*/ 3 w 85"/>
                <a:gd name="T5" fmla="*/ 68 h 85"/>
                <a:gd name="T6" fmla="*/ 16 w 85"/>
                <a:gd name="T7" fmla="*/ 85 h 85"/>
                <a:gd name="T8" fmla="*/ 85 w 85"/>
                <a:gd name="T9" fmla="*/ 54 h 85"/>
                <a:gd name="T10" fmla="*/ 57 w 85"/>
                <a:gd name="T11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5">
                  <a:moveTo>
                    <a:pt x="57" y="0"/>
                  </a:moveTo>
                  <a:lnTo>
                    <a:pt x="0" y="19"/>
                  </a:lnTo>
                  <a:lnTo>
                    <a:pt x="3" y="68"/>
                  </a:lnTo>
                  <a:lnTo>
                    <a:pt x="16" y="85"/>
                  </a:lnTo>
                  <a:lnTo>
                    <a:pt x="85" y="54"/>
                  </a:ln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340"/>
            <p:cNvSpPr>
              <a:spLocks/>
            </p:cNvSpPr>
            <p:nvPr/>
          </p:nvSpPr>
          <p:spPr bwMode="auto">
            <a:xfrm>
              <a:off x="4779963" y="2435225"/>
              <a:ext cx="141288" cy="165100"/>
            </a:xfrm>
            <a:custGeom>
              <a:avLst/>
              <a:gdLst>
                <a:gd name="T0" fmla="*/ 2 w 267"/>
                <a:gd name="T1" fmla="*/ 126 h 312"/>
                <a:gd name="T2" fmla="*/ 0 w 267"/>
                <a:gd name="T3" fmla="*/ 150 h 312"/>
                <a:gd name="T4" fmla="*/ 80 w 267"/>
                <a:gd name="T5" fmla="*/ 189 h 312"/>
                <a:gd name="T6" fmla="*/ 118 w 267"/>
                <a:gd name="T7" fmla="*/ 204 h 312"/>
                <a:gd name="T8" fmla="*/ 98 w 267"/>
                <a:gd name="T9" fmla="*/ 225 h 312"/>
                <a:gd name="T10" fmla="*/ 54 w 267"/>
                <a:gd name="T11" fmla="*/ 229 h 312"/>
                <a:gd name="T12" fmla="*/ 47 w 267"/>
                <a:gd name="T13" fmla="*/ 249 h 312"/>
                <a:gd name="T14" fmla="*/ 62 w 267"/>
                <a:gd name="T15" fmla="*/ 284 h 312"/>
                <a:gd name="T16" fmla="*/ 112 w 267"/>
                <a:gd name="T17" fmla="*/ 310 h 312"/>
                <a:gd name="T18" fmla="*/ 133 w 267"/>
                <a:gd name="T19" fmla="*/ 312 h 312"/>
                <a:gd name="T20" fmla="*/ 136 w 267"/>
                <a:gd name="T21" fmla="*/ 252 h 312"/>
                <a:gd name="T22" fmla="*/ 169 w 267"/>
                <a:gd name="T23" fmla="*/ 214 h 312"/>
                <a:gd name="T24" fmla="*/ 81 w 267"/>
                <a:gd name="T25" fmla="*/ 109 h 312"/>
                <a:gd name="T26" fmla="*/ 92 w 267"/>
                <a:gd name="T27" fmla="*/ 74 h 312"/>
                <a:gd name="T28" fmla="*/ 113 w 267"/>
                <a:gd name="T29" fmla="*/ 73 h 312"/>
                <a:gd name="T30" fmla="*/ 145 w 267"/>
                <a:gd name="T31" fmla="*/ 98 h 312"/>
                <a:gd name="T32" fmla="*/ 164 w 267"/>
                <a:gd name="T33" fmla="*/ 88 h 312"/>
                <a:gd name="T34" fmla="*/ 171 w 267"/>
                <a:gd name="T35" fmla="*/ 53 h 312"/>
                <a:gd name="T36" fmla="*/ 263 w 267"/>
                <a:gd name="T37" fmla="*/ 53 h 312"/>
                <a:gd name="T38" fmla="*/ 267 w 267"/>
                <a:gd name="T39" fmla="*/ 0 h 312"/>
                <a:gd name="T40" fmla="*/ 228 w 267"/>
                <a:gd name="T41" fmla="*/ 27 h 312"/>
                <a:gd name="T42" fmla="*/ 115 w 267"/>
                <a:gd name="T43" fmla="*/ 24 h 312"/>
                <a:gd name="T44" fmla="*/ 41 w 267"/>
                <a:gd name="T45" fmla="*/ 62 h 312"/>
                <a:gd name="T46" fmla="*/ 2 w 267"/>
                <a:gd name="T47" fmla="*/ 12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7" h="312">
                  <a:moveTo>
                    <a:pt x="2" y="126"/>
                  </a:moveTo>
                  <a:lnTo>
                    <a:pt x="0" y="150"/>
                  </a:lnTo>
                  <a:lnTo>
                    <a:pt x="80" y="189"/>
                  </a:lnTo>
                  <a:lnTo>
                    <a:pt x="118" y="204"/>
                  </a:lnTo>
                  <a:lnTo>
                    <a:pt x="98" y="225"/>
                  </a:lnTo>
                  <a:lnTo>
                    <a:pt x="54" y="229"/>
                  </a:lnTo>
                  <a:lnTo>
                    <a:pt x="47" y="249"/>
                  </a:lnTo>
                  <a:lnTo>
                    <a:pt x="62" y="284"/>
                  </a:lnTo>
                  <a:lnTo>
                    <a:pt x="112" y="310"/>
                  </a:lnTo>
                  <a:lnTo>
                    <a:pt x="133" y="312"/>
                  </a:lnTo>
                  <a:lnTo>
                    <a:pt x="136" y="252"/>
                  </a:lnTo>
                  <a:lnTo>
                    <a:pt x="169" y="214"/>
                  </a:lnTo>
                  <a:lnTo>
                    <a:pt x="81" y="109"/>
                  </a:lnTo>
                  <a:lnTo>
                    <a:pt x="92" y="74"/>
                  </a:lnTo>
                  <a:lnTo>
                    <a:pt x="113" y="73"/>
                  </a:lnTo>
                  <a:lnTo>
                    <a:pt x="145" y="98"/>
                  </a:lnTo>
                  <a:lnTo>
                    <a:pt x="164" y="88"/>
                  </a:lnTo>
                  <a:lnTo>
                    <a:pt x="171" y="53"/>
                  </a:lnTo>
                  <a:lnTo>
                    <a:pt x="263" y="53"/>
                  </a:lnTo>
                  <a:lnTo>
                    <a:pt x="267" y="0"/>
                  </a:lnTo>
                  <a:lnTo>
                    <a:pt x="228" y="27"/>
                  </a:lnTo>
                  <a:lnTo>
                    <a:pt x="115" y="24"/>
                  </a:lnTo>
                  <a:lnTo>
                    <a:pt x="41" y="62"/>
                  </a:lnTo>
                  <a:lnTo>
                    <a:pt x="2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341"/>
            <p:cNvSpPr>
              <a:spLocks/>
            </p:cNvSpPr>
            <p:nvPr/>
          </p:nvSpPr>
          <p:spPr bwMode="auto">
            <a:xfrm>
              <a:off x="4927600" y="2420938"/>
              <a:ext cx="41275" cy="42863"/>
            </a:xfrm>
            <a:custGeom>
              <a:avLst/>
              <a:gdLst>
                <a:gd name="T0" fmla="*/ 3 w 78"/>
                <a:gd name="T1" fmla="*/ 18 h 79"/>
                <a:gd name="T2" fmla="*/ 0 w 78"/>
                <a:gd name="T3" fmla="*/ 79 h 79"/>
                <a:gd name="T4" fmla="*/ 53 w 78"/>
                <a:gd name="T5" fmla="*/ 63 h 79"/>
                <a:gd name="T6" fmla="*/ 78 w 78"/>
                <a:gd name="T7" fmla="*/ 47 h 79"/>
                <a:gd name="T8" fmla="*/ 71 w 78"/>
                <a:gd name="T9" fmla="*/ 20 h 79"/>
                <a:gd name="T10" fmla="*/ 45 w 78"/>
                <a:gd name="T11" fmla="*/ 0 h 79"/>
                <a:gd name="T12" fmla="*/ 3 w 78"/>
                <a:gd name="T13" fmla="*/ 1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79">
                  <a:moveTo>
                    <a:pt x="3" y="18"/>
                  </a:moveTo>
                  <a:lnTo>
                    <a:pt x="0" y="79"/>
                  </a:lnTo>
                  <a:lnTo>
                    <a:pt x="53" y="63"/>
                  </a:lnTo>
                  <a:lnTo>
                    <a:pt x="78" y="47"/>
                  </a:lnTo>
                  <a:lnTo>
                    <a:pt x="71" y="20"/>
                  </a:lnTo>
                  <a:lnTo>
                    <a:pt x="45" y="0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342"/>
            <p:cNvSpPr>
              <a:spLocks/>
            </p:cNvSpPr>
            <p:nvPr/>
          </p:nvSpPr>
          <p:spPr bwMode="auto">
            <a:xfrm>
              <a:off x="4867275" y="2620963"/>
              <a:ext cx="66675" cy="23813"/>
            </a:xfrm>
            <a:custGeom>
              <a:avLst/>
              <a:gdLst>
                <a:gd name="T0" fmla="*/ 11 w 127"/>
                <a:gd name="T1" fmla="*/ 0 h 45"/>
                <a:gd name="T2" fmla="*/ 38 w 127"/>
                <a:gd name="T3" fmla="*/ 1 h 45"/>
                <a:gd name="T4" fmla="*/ 51 w 127"/>
                <a:gd name="T5" fmla="*/ 18 h 45"/>
                <a:gd name="T6" fmla="*/ 91 w 127"/>
                <a:gd name="T7" fmla="*/ 18 h 45"/>
                <a:gd name="T8" fmla="*/ 118 w 127"/>
                <a:gd name="T9" fmla="*/ 8 h 45"/>
                <a:gd name="T10" fmla="*/ 127 w 127"/>
                <a:gd name="T11" fmla="*/ 19 h 45"/>
                <a:gd name="T12" fmla="*/ 108 w 127"/>
                <a:gd name="T13" fmla="*/ 42 h 45"/>
                <a:gd name="T14" fmla="*/ 29 w 127"/>
                <a:gd name="T15" fmla="*/ 45 h 45"/>
                <a:gd name="T16" fmla="*/ 15 w 127"/>
                <a:gd name="T17" fmla="*/ 26 h 45"/>
                <a:gd name="T18" fmla="*/ 0 w 127"/>
                <a:gd name="T19" fmla="*/ 17 h 45"/>
                <a:gd name="T20" fmla="*/ 11 w 127"/>
                <a:gd name="T2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45">
                  <a:moveTo>
                    <a:pt x="11" y="0"/>
                  </a:moveTo>
                  <a:lnTo>
                    <a:pt x="38" y="1"/>
                  </a:lnTo>
                  <a:lnTo>
                    <a:pt x="51" y="18"/>
                  </a:lnTo>
                  <a:lnTo>
                    <a:pt x="91" y="18"/>
                  </a:lnTo>
                  <a:lnTo>
                    <a:pt x="118" y="8"/>
                  </a:lnTo>
                  <a:lnTo>
                    <a:pt x="127" y="19"/>
                  </a:lnTo>
                  <a:lnTo>
                    <a:pt x="108" y="42"/>
                  </a:lnTo>
                  <a:lnTo>
                    <a:pt x="29" y="45"/>
                  </a:lnTo>
                  <a:lnTo>
                    <a:pt x="15" y="26"/>
                  </a:lnTo>
                  <a:lnTo>
                    <a:pt x="0" y="17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Oval 3"/>
          <p:cNvSpPr/>
          <p:nvPr/>
        </p:nvSpPr>
        <p:spPr>
          <a:xfrm>
            <a:off x="1580729" y="4132991"/>
            <a:ext cx="262060" cy="262060"/>
          </a:xfrm>
          <a:prstGeom prst="ellipse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9" name="Oval 378"/>
          <p:cNvSpPr/>
          <p:nvPr/>
        </p:nvSpPr>
        <p:spPr>
          <a:xfrm>
            <a:off x="2356038" y="3275387"/>
            <a:ext cx="262060" cy="262060"/>
          </a:xfrm>
          <a:prstGeom prst="ellipse">
            <a:avLst/>
          </a:pr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0" name="Oval 379"/>
          <p:cNvSpPr/>
          <p:nvPr/>
        </p:nvSpPr>
        <p:spPr>
          <a:xfrm>
            <a:off x="3213692" y="3407664"/>
            <a:ext cx="262060" cy="262060"/>
          </a:xfrm>
          <a:prstGeom prst="ellipse">
            <a:avLst/>
          </a:prstGeom>
          <a:solidFill>
            <a:srgbClr val="F0B71F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/>
          <p:cNvCxnSpPr>
            <a:stCxn id="4" idx="7"/>
            <a:endCxn id="379" idx="3"/>
          </p:cNvCxnSpPr>
          <p:nvPr/>
        </p:nvCxnSpPr>
        <p:spPr>
          <a:xfrm flipV="1">
            <a:off x="1804412" y="3499070"/>
            <a:ext cx="590003" cy="672298"/>
          </a:xfrm>
          <a:prstGeom prst="line">
            <a:avLst/>
          </a:prstGeom>
          <a:ln>
            <a:solidFill>
              <a:srgbClr val="CE2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379" idx="6"/>
            <a:endCxn id="380" idx="2"/>
          </p:cNvCxnSpPr>
          <p:nvPr/>
        </p:nvCxnSpPr>
        <p:spPr>
          <a:xfrm>
            <a:off x="2618098" y="3406417"/>
            <a:ext cx="595594" cy="132277"/>
          </a:xfrm>
          <a:prstGeom prst="line">
            <a:avLst/>
          </a:prstGeom>
          <a:ln>
            <a:solidFill>
              <a:srgbClr val="CE20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5334000" y="2066330"/>
            <a:ext cx="2325222" cy="761999"/>
            <a:chOff x="5277723" y="1995290"/>
            <a:chExt cx="2325222" cy="761999"/>
          </a:xfrm>
        </p:grpSpPr>
        <p:sp>
          <p:nvSpPr>
            <p:cNvPr id="382" name="Rectangle 381"/>
            <p:cNvSpPr/>
            <p:nvPr/>
          </p:nvSpPr>
          <p:spPr>
            <a:xfrm rot="5400000">
              <a:off x="4980516" y="2292497"/>
              <a:ext cx="761999" cy="167585"/>
            </a:xfrm>
            <a:prstGeom prst="rect">
              <a:avLst/>
            </a:pr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3" name="TextBox 382"/>
            <p:cNvSpPr txBox="1"/>
            <p:nvPr/>
          </p:nvSpPr>
          <p:spPr>
            <a:xfrm>
              <a:off x="5562600" y="2053124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334000" y="3276565"/>
            <a:ext cx="2325222" cy="761999"/>
            <a:chOff x="5277723" y="3124842"/>
            <a:chExt cx="2325222" cy="761999"/>
          </a:xfrm>
        </p:grpSpPr>
        <p:sp>
          <p:nvSpPr>
            <p:cNvPr id="384" name="Rectangle 383"/>
            <p:cNvSpPr/>
            <p:nvPr/>
          </p:nvSpPr>
          <p:spPr>
            <a:xfrm rot="5400000">
              <a:off x="4980516" y="3422049"/>
              <a:ext cx="761999" cy="167585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5" name="TextBox 384"/>
            <p:cNvSpPr txBox="1"/>
            <p:nvPr/>
          </p:nvSpPr>
          <p:spPr>
            <a:xfrm>
              <a:off x="5562600" y="3182676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334000" y="4486800"/>
            <a:ext cx="2325222" cy="761999"/>
            <a:chOff x="5277723" y="4415760"/>
            <a:chExt cx="2325222" cy="761999"/>
          </a:xfrm>
        </p:grpSpPr>
        <p:sp>
          <p:nvSpPr>
            <p:cNvPr id="386" name="Rectangle 385"/>
            <p:cNvSpPr/>
            <p:nvPr/>
          </p:nvSpPr>
          <p:spPr>
            <a:xfrm rot="5400000">
              <a:off x="4980516" y="4712967"/>
              <a:ext cx="761999" cy="167585"/>
            </a:xfrm>
            <a:prstGeom prst="rect">
              <a:avLst/>
            </a:prstGeom>
            <a:solidFill>
              <a:srgbClr val="F0B71F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562600" y="4473594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8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 rot="21066098">
            <a:off x="2166650" y="1864448"/>
            <a:ext cx="2971800" cy="3788406"/>
            <a:chOff x="2349462" y="1774194"/>
            <a:chExt cx="2971800" cy="3788406"/>
          </a:xfrm>
        </p:grpSpPr>
        <p:sp>
          <p:nvSpPr>
            <p:cNvPr id="47" name="Rectangle 46"/>
            <p:cNvSpPr/>
            <p:nvPr/>
          </p:nvSpPr>
          <p:spPr>
            <a:xfrm rot="21124400">
              <a:off x="2349462" y="1774194"/>
              <a:ext cx="2971800" cy="36576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2349462" y="1905000"/>
              <a:ext cx="2971800" cy="3657600"/>
            </a:xfrm>
            <a:prstGeom prst="rect">
              <a:avLst/>
            </a:prstGeom>
            <a:solidFill>
              <a:srgbClr val="D5D5D5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latin typeface="+mj-lt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654262" y="2362200"/>
              <a:ext cx="228600" cy="228600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938144" y="2362200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  <p:sp>
          <p:nvSpPr>
            <p:cNvPr id="57" name="Oval 56"/>
            <p:cNvSpPr/>
            <p:nvPr/>
          </p:nvSpPr>
          <p:spPr>
            <a:xfrm>
              <a:off x="2654262" y="3312459"/>
              <a:ext cx="228600" cy="228600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938144" y="3312459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  <p:sp>
          <p:nvSpPr>
            <p:cNvPr id="59" name="Oval 58"/>
            <p:cNvSpPr/>
            <p:nvPr/>
          </p:nvSpPr>
          <p:spPr>
            <a:xfrm>
              <a:off x="2654262" y="4262718"/>
              <a:ext cx="228600" cy="228600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2938144" y="4262718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sp>
        <p:nvSpPr>
          <p:cNvPr id="61" name="Freeform 12"/>
          <p:cNvSpPr>
            <a:spLocks/>
          </p:cNvSpPr>
          <p:nvPr/>
        </p:nvSpPr>
        <p:spPr bwMode="auto">
          <a:xfrm rot="20311516">
            <a:off x="3112297" y="2359428"/>
            <a:ext cx="3824288" cy="2676525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solidFill>
            <a:srgbClr val="2A9B18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" name="Freeform 13"/>
          <p:cNvSpPr>
            <a:spLocks/>
          </p:cNvSpPr>
          <p:nvPr/>
        </p:nvSpPr>
        <p:spPr bwMode="auto">
          <a:xfrm rot="20518146">
            <a:off x="3377779" y="3313253"/>
            <a:ext cx="3931252" cy="2061633"/>
          </a:xfrm>
          <a:custGeom>
            <a:avLst/>
            <a:gdLst>
              <a:gd name="T0" fmla="*/ 4371 w 5446"/>
              <a:gd name="T1" fmla="*/ 549 h 2856"/>
              <a:gd name="T2" fmla="*/ 4581 w 5446"/>
              <a:gd name="T3" fmla="*/ 468 h 2856"/>
              <a:gd name="T4" fmla="*/ 4789 w 5446"/>
              <a:gd name="T5" fmla="*/ 375 h 2856"/>
              <a:gd name="T6" fmla="*/ 4994 w 5446"/>
              <a:gd name="T7" fmla="*/ 264 h 2856"/>
              <a:gd name="T8" fmla="*/ 5194 w 5446"/>
              <a:gd name="T9" fmla="*/ 140 h 2856"/>
              <a:gd name="T10" fmla="*/ 5391 w 5446"/>
              <a:gd name="T11" fmla="*/ 0 h 2856"/>
              <a:gd name="T12" fmla="*/ 5414 w 5446"/>
              <a:gd name="T13" fmla="*/ 195 h 2856"/>
              <a:gd name="T14" fmla="*/ 5437 w 5446"/>
              <a:gd name="T15" fmla="*/ 493 h 2856"/>
              <a:gd name="T16" fmla="*/ 5446 w 5446"/>
              <a:gd name="T17" fmla="*/ 795 h 2856"/>
              <a:gd name="T18" fmla="*/ 5440 w 5446"/>
              <a:gd name="T19" fmla="*/ 1103 h 2856"/>
              <a:gd name="T20" fmla="*/ 5418 w 5446"/>
              <a:gd name="T21" fmla="*/ 1414 h 2856"/>
              <a:gd name="T22" fmla="*/ 5395 w 5446"/>
              <a:gd name="T23" fmla="*/ 1624 h 2856"/>
              <a:gd name="T24" fmla="*/ 5118 w 5446"/>
              <a:gd name="T25" fmla="*/ 1328 h 2856"/>
              <a:gd name="T26" fmla="*/ 4910 w 5446"/>
              <a:gd name="T27" fmla="*/ 1549 h 2856"/>
              <a:gd name="T28" fmla="*/ 4690 w 5446"/>
              <a:gd name="T29" fmla="*/ 1754 h 2856"/>
              <a:gd name="T30" fmla="*/ 4461 w 5446"/>
              <a:gd name="T31" fmla="*/ 1939 h 2856"/>
              <a:gd name="T32" fmla="*/ 4226 w 5446"/>
              <a:gd name="T33" fmla="*/ 2109 h 2856"/>
              <a:gd name="T34" fmla="*/ 3985 w 5446"/>
              <a:gd name="T35" fmla="*/ 2260 h 2856"/>
              <a:gd name="T36" fmla="*/ 3737 w 5446"/>
              <a:gd name="T37" fmla="*/ 2396 h 2856"/>
              <a:gd name="T38" fmla="*/ 3487 w 5446"/>
              <a:gd name="T39" fmla="*/ 2512 h 2856"/>
              <a:gd name="T40" fmla="*/ 3233 w 5446"/>
              <a:gd name="T41" fmla="*/ 2612 h 2856"/>
              <a:gd name="T42" fmla="*/ 2977 w 5446"/>
              <a:gd name="T43" fmla="*/ 2694 h 2856"/>
              <a:gd name="T44" fmla="*/ 2719 w 5446"/>
              <a:gd name="T45" fmla="*/ 2759 h 2856"/>
              <a:gd name="T46" fmla="*/ 2548 w 5446"/>
              <a:gd name="T47" fmla="*/ 2793 h 2856"/>
              <a:gd name="T48" fmla="*/ 2290 w 5446"/>
              <a:gd name="T49" fmla="*/ 2831 h 2856"/>
              <a:gd name="T50" fmla="*/ 2036 w 5446"/>
              <a:gd name="T51" fmla="*/ 2850 h 2856"/>
              <a:gd name="T52" fmla="*/ 1782 w 5446"/>
              <a:gd name="T53" fmla="*/ 2856 h 2856"/>
              <a:gd name="T54" fmla="*/ 1532 w 5446"/>
              <a:gd name="T55" fmla="*/ 2843 h 2856"/>
              <a:gd name="T56" fmla="*/ 1285 w 5446"/>
              <a:gd name="T57" fmla="*/ 2816 h 2856"/>
              <a:gd name="T58" fmla="*/ 1043 w 5446"/>
              <a:gd name="T59" fmla="*/ 2774 h 2856"/>
              <a:gd name="T60" fmla="*/ 808 w 5446"/>
              <a:gd name="T61" fmla="*/ 2715 h 2856"/>
              <a:gd name="T62" fmla="*/ 577 w 5446"/>
              <a:gd name="T63" fmla="*/ 2642 h 2856"/>
              <a:gd name="T64" fmla="*/ 355 w 5446"/>
              <a:gd name="T65" fmla="*/ 2556 h 2856"/>
              <a:gd name="T66" fmla="*/ 140 w 5446"/>
              <a:gd name="T67" fmla="*/ 2455 h 2856"/>
              <a:gd name="T68" fmla="*/ 0 w 5446"/>
              <a:gd name="T69" fmla="*/ 2380 h 2856"/>
              <a:gd name="T70" fmla="*/ 216 w 5446"/>
              <a:gd name="T71" fmla="*/ 2453 h 2856"/>
              <a:gd name="T72" fmla="*/ 438 w 5446"/>
              <a:gd name="T73" fmla="*/ 2510 h 2856"/>
              <a:gd name="T74" fmla="*/ 661 w 5446"/>
              <a:gd name="T75" fmla="*/ 2554 h 2856"/>
              <a:gd name="T76" fmla="*/ 890 w 5446"/>
              <a:gd name="T77" fmla="*/ 2583 h 2856"/>
              <a:gd name="T78" fmla="*/ 1121 w 5446"/>
              <a:gd name="T79" fmla="*/ 2598 h 2856"/>
              <a:gd name="T80" fmla="*/ 1352 w 5446"/>
              <a:gd name="T81" fmla="*/ 2600 h 2856"/>
              <a:gd name="T82" fmla="*/ 1585 w 5446"/>
              <a:gd name="T83" fmla="*/ 2585 h 2856"/>
              <a:gd name="T84" fmla="*/ 1820 w 5446"/>
              <a:gd name="T85" fmla="*/ 2558 h 2856"/>
              <a:gd name="T86" fmla="*/ 2053 w 5446"/>
              <a:gd name="T87" fmla="*/ 2516 h 2856"/>
              <a:gd name="T88" fmla="*/ 2286 w 5446"/>
              <a:gd name="T89" fmla="*/ 2461 h 2856"/>
              <a:gd name="T90" fmla="*/ 2515 w 5446"/>
              <a:gd name="T91" fmla="*/ 2390 h 2856"/>
              <a:gd name="T92" fmla="*/ 2742 w 5446"/>
              <a:gd name="T93" fmla="*/ 2304 h 2856"/>
              <a:gd name="T94" fmla="*/ 2966 w 5446"/>
              <a:gd name="T95" fmla="*/ 2207 h 2856"/>
              <a:gd name="T96" fmla="*/ 3187 w 5446"/>
              <a:gd name="T97" fmla="*/ 2092 h 2856"/>
              <a:gd name="T98" fmla="*/ 3401 w 5446"/>
              <a:gd name="T99" fmla="*/ 1966 h 2856"/>
              <a:gd name="T100" fmla="*/ 3611 w 5446"/>
              <a:gd name="T101" fmla="*/ 1823 h 2856"/>
              <a:gd name="T102" fmla="*/ 3814 w 5446"/>
              <a:gd name="T103" fmla="*/ 1668 h 2856"/>
              <a:gd name="T104" fmla="*/ 4008 w 5446"/>
              <a:gd name="T105" fmla="*/ 1498 h 2856"/>
              <a:gd name="T106" fmla="*/ 4195 w 5446"/>
              <a:gd name="T107" fmla="*/ 1313 h 2856"/>
              <a:gd name="T108" fmla="*/ 4375 w 5446"/>
              <a:gd name="T109" fmla="*/ 1114 h 2856"/>
              <a:gd name="T110" fmla="*/ 4543 w 5446"/>
              <a:gd name="T111" fmla="*/ 902 h 2856"/>
              <a:gd name="T112" fmla="*/ 4449 w 5446"/>
              <a:gd name="T113" fmla="*/ 698 h 2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46" h="2856">
                <a:moveTo>
                  <a:pt x="4301" y="573"/>
                </a:moveTo>
                <a:lnTo>
                  <a:pt x="4301" y="573"/>
                </a:lnTo>
                <a:lnTo>
                  <a:pt x="4371" y="549"/>
                </a:lnTo>
                <a:lnTo>
                  <a:pt x="4442" y="524"/>
                </a:lnTo>
                <a:lnTo>
                  <a:pt x="4512" y="497"/>
                </a:lnTo>
                <a:lnTo>
                  <a:pt x="4581" y="468"/>
                </a:lnTo>
                <a:lnTo>
                  <a:pt x="4652" y="438"/>
                </a:lnTo>
                <a:lnTo>
                  <a:pt x="4721" y="407"/>
                </a:lnTo>
                <a:lnTo>
                  <a:pt x="4789" y="375"/>
                </a:lnTo>
                <a:lnTo>
                  <a:pt x="4858" y="338"/>
                </a:lnTo>
                <a:lnTo>
                  <a:pt x="4925" y="302"/>
                </a:lnTo>
                <a:lnTo>
                  <a:pt x="4994" y="264"/>
                </a:lnTo>
                <a:lnTo>
                  <a:pt x="5060" y="224"/>
                </a:lnTo>
                <a:lnTo>
                  <a:pt x="5127" y="184"/>
                </a:lnTo>
                <a:lnTo>
                  <a:pt x="5194" y="140"/>
                </a:lnTo>
                <a:lnTo>
                  <a:pt x="5261" y="96"/>
                </a:lnTo>
                <a:lnTo>
                  <a:pt x="5326" y="50"/>
                </a:lnTo>
                <a:lnTo>
                  <a:pt x="5391" y="0"/>
                </a:lnTo>
                <a:lnTo>
                  <a:pt x="5391" y="0"/>
                </a:lnTo>
                <a:lnTo>
                  <a:pt x="5404" y="98"/>
                </a:lnTo>
                <a:lnTo>
                  <a:pt x="5414" y="195"/>
                </a:lnTo>
                <a:lnTo>
                  <a:pt x="5423" y="295"/>
                </a:lnTo>
                <a:lnTo>
                  <a:pt x="5431" y="394"/>
                </a:lnTo>
                <a:lnTo>
                  <a:pt x="5437" y="493"/>
                </a:lnTo>
                <a:lnTo>
                  <a:pt x="5442" y="594"/>
                </a:lnTo>
                <a:lnTo>
                  <a:pt x="5444" y="694"/>
                </a:lnTo>
                <a:lnTo>
                  <a:pt x="5446" y="795"/>
                </a:lnTo>
                <a:lnTo>
                  <a:pt x="5446" y="898"/>
                </a:lnTo>
                <a:lnTo>
                  <a:pt x="5444" y="999"/>
                </a:lnTo>
                <a:lnTo>
                  <a:pt x="5440" y="1103"/>
                </a:lnTo>
                <a:lnTo>
                  <a:pt x="5435" y="1206"/>
                </a:lnTo>
                <a:lnTo>
                  <a:pt x="5427" y="1311"/>
                </a:lnTo>
                <a:lnTo>
                  <a:pt x="5418" y="1414"/>
                </a:lnTo>
                <a:lnTo>
                  <a:pt x="5408" y="1519"/>
                </a:lnTo>
                <a:lnTo>
                  <a:pt x="5395" y="1624"/>
                </a:lnTo>
                <a:lnTo>
                  <a:pt x="5395" y="1624"/>
                </a:lnTo>
                <a:lnTo>
                  <a:pt x="5257" y="1473"/>
                </a:lnTo>
                <a:lnTo>
                  <a:pt x="5118" y="1328"/>
                </a:lnTo>
                <a:lnTo>
                  <a:pt x="5118" y="1328"/>
                </a:lnTo>
                <a:lnTo>
                  <a:pt x="5049" y="1404"/>
                </a:lnTo>
                <a:lnTo>
                  <a:pt x="4980" y="1477"/>
                </a:lnTo>
                <a:lnTo>
                  <a:pt x="4910" y="1549"/>
                </a:lnTo>
                <a:lnTo>
                  <a:pt x="4837" y="1620"/>
                </a:lnTo>
                <a:lnTo>
                  <a:pt x="4763" y="1687"/>
                </a:lnTo>
                <a:lnTo>
                  <a:pt x="4690" y="1754"/>
                </a:lnTo>
                <a:lnTo>
                  <a:pt x="4614" y="1817"/>
                </a:lnTo>
                <a:lnTo>
                  <a:pt x="4539" y="1880"/>
                </a:lnTo>
                <a:lnTo>
                  <a:pt x="4461" y="1939"/>
                </a:lnTo>
                <a:lnTo>
                  <a:pt x="4385" y="1998"/>
                </a:lnTo>
                <a:lnTo>
                  <a:pt x="4306" y="2054"/>
                </a:lnTo>
                <a:lnTo>
                  <a:pt x="4226" y="2109"/>
                </a:lnTo>
                <a:lnTo>
                  <a:pt x="4146" y="2161"/>
                </a:lnTo>
                <a:lnTo>
                  <a:pt x="4066" y="2212"/>
                </a:lnTo>
                <a:lnTo>
                  <a:pt x="3985" y="2260"/>
                </a:lnTo>
                <a:lnTo>
                  <a:pt x="3903" y="2308"/>
                </a:lnTo>
                <a:lnTo>
                  <a:pt x="3821" y="2352"/>
                </a:lnTo>
                <a:lnTo>
                  <a:pt x="3737" y="2396"/>
                </a:lnTo>
                <a:lnTo>
                  <a:pt x="3655" y="2436"/>
                </a:lnTo>
                <a:lnTo>
                  <a:pt x="3571" y="2474"/>
                </a:lnTo>
                <a:lnTo>
                  <a:pt x="3487" y="2512"/>
                </a:lnTo>
                <a:lnTo>
                  <a:pt x="3403" y="2547"/>
                </a:lnTo>
                <a:lnTo>
                  <a:pt x="3317" y="2581"/>
                </a:lnTo>
                <a:lnTo>
                  <a:pt x="3233" y="2612"/>
                </a:lnTo>
                <a:lnTo>
                  <a:pt x="3147" y="2640"/>
                </a:lnTo>
                <a:lnTo>
                  <a:pt x="3061" y="2669"/>
                </a:lnTo>
                <a:lnTo>
                  <a:pt x="2977" y="2694"/>
                </a:lnTo>
                <a:lnTo>
                  <a:pt x="2891" y="2718"/>
                </a:lnTo>
                <a:lnTo>
                  <a:pt x="2805" y="2739"/>
                </a:lnTo>
                <a:lnTo>
                  <a:pt x="2719" y="2759"/>
                </a:lnTo>
                <a:lnTo>
                  <a:pt x="2634" y="2778"/>
                </a:lnTo>
                <a:lnTo>
                  <a:pt x="2548" y="2793"/>
                </a:lnTo>
                <a:lnTo>
                  <a:pt x="2548" y="2793"/>
                </a:lnTo>
                <a:lnTo>
                  <a:pt x="2462" y="2808"/>
                </a:lnTo>
                <a:lnTo>
                  <a:pt x="2376" y="2820"/>
                </a:lnTo>
                <a:lnTo>
                  <a:pt x="2290" y="2831"/>
                </a:lnTo>
                <a:lnTo>
                  <a:pt x="2206" y="2839"/>
                </a:lnTo>
                <a:lnTo>
                  <a:pt x="2120" y="2846"/>
                </a:lnTo>
                <a:lnTo>
                  <a:pt x="2036" y="2850"/>
                </a:lnTo>
                <a:lnTo>
                  <a:pt x="1950" y="2854"/>
                </a:lnTo>
                <a:lnTo>
                  <a:pt x="1866" y="2856"/>
                </a:lnTo>
                <a:lnTo>
                  <a:pt x="1782" y="2856"/>
                </a:lnTo>
                <a:lnTo>
                  <a:pt x="1698" y="2854"/>
                </a:lnTo>
                <a:lnTo>
                  <a:pt x="1614" y="2848"/>
                </a:lnTo>
                <a:lnTo>
                  <a:pt x="1532" y="2843"/>
                </a:lnTo>
                <a:lnTo>
                  <a:pt x="1450" y="2837"/>
                </a:lnTo>
                <a:lnTo>
                  <a:pt x="1368" y="2827"/>
                </a:lnTo>
                <a:lnTo>
                  <a:pt x="1285" y="2816"/>
                </a:lnTo>
                <a:lnTo>
                  <a:pt x="1203" y="2803"/>
                </a:lnTo>
                <a:lnTo>
                  <a:pt x="1123" y="2789"/>
                </a:lnTo>
                <a:lnTo>
                  <a:pt x="1043" y="2774"/>
                </a:lnTo>
                <a:lnTo>
                  <a:pt x="965" y="2755"/>
                </a:lnTo>
                <a:lnTo>
                  <a:pt x="884" y="2736"/>
                </a:lnTo>
                <a:lnTo>
                  <a:pt x="808" y="2715"/>
                </a:lnTo>
                <a:lnTo>
                  <a:pt x="730" y="2694"/>
                </a:lnTo>
                <a:lnTo>
                  <a:pt x="653" y="2669"/>
                </a:lnTo>
                <a:lnTo>
                  <a:pt x="577" y="2642"/>
                </a:lnTo>
                <a:lnTo>
                  <a:pt x="503" y="2615"/>
                </a:lnTo>
                <a:lnTo>
                  <a:pt x="428" y="2587"/>
                </a:lnTo>
                <a:lnTo>
                  <a:pt x="355" y="2556"/>
                </a:lnTo>
                <a:lnTo>
                  <a:pt x="283" y="2524"/>
                </a:lnTo>
                <a:lnTo>
                  <a:pt x="210" y="2491"/>
                </a:lnTo>
                <a:lnTo>
                  <a:pt x="140" y="2455"/>
                </a:lnTo>
                <a:lnTo>
                  <a:pt x="69" y="2419"/>
                </a:lnTo>
                <a:lnTo>
                  <a:pt x="0" y="2380"/>
                </a:lnTo>
                <a:lnTo>
                  <a:pt x="0" y="2380"/>
                </a:lnTo>
                <a:lnTo>
                  <a:pt x="73" y="2407"/>
                </a:lnTo>
                <a:lnTo>
                  <a:pt x="144" y="2430"/>
                </a:lnTo>
                <a:lnTo>
                  <a:pt x="216" y="2453"/>
                </a:lnTo>
                <a:lnTo>
                  <a:pt x="291" y="2474"/>
                </a:lnTo>
                <a:lnTo>
                  <a:pt x="363" y="2493"/>
                </a:lnTo>
                <a:lnTo>
                  <a:pt x="438" y="2510"/>
                </a:lnTo>
                <a:lnTo>
                  <a:pt x="512" y="2527"/>
                </a:lnTo>
                <a:lnTo>
                  <a:pt x="587" y="2541"/>
                </a:lnTo>
                <a:lnTo>
                  <a:pt x="661" y="2554"/>
                </a:lnTo>
                <a:lnTo>
                  <a:pt x="737" y="2566"/>
                </a:lnTo>
                <a:lnTo>
                  <a:pt x="814" y="2575"/>
                </a:lnTo>
                <a:lnTo>
                  <a:pt x="890" y="2583"/>
                </a:lnTo>
                <a:lnTo>
                  <a:pt x="967" y="2590"/>
                </a:lnTo>
                <a:lnTo>
                  <a:pt x="1043" y="2594"/>
                </a:lnTo>
                <a:lnTo>
                  <a:pt x="1121" y="2598"/>
                </a:lnTo>
                <a:lnTo>
                  <a:pt x="1198" y="2600"/>
                </a:lnTo>
                <a:lnTo>
                  <a:pt x="1276" y="2600"/>
                </a:lnTo>
                <a:lnTo>
                  <a:pt x="1352" y="2600"/>
                </a:lnTo>
                <a:lnTo>
                  <a:pt x="1431" y="2596"/>
                </a:lnTo>
                <a:lnTo>
                  <a:pt x="1509" y="2592"/>
                </a:lnTo>
                <a:lnTo>
                  <a:pt x="1585" y="2585"/>
                </a:lnTo>
                <a:lnTo>
                  <a:pt x="1663" y="2577"/>
                </a:lnTo>
                <a:lnTo>
                  <a:pt x="1742" y="2569"/>
                </a:lnTo>
                <a:lnTo>
                  <a:pt x="1820" y="2558"/>
                </a:lnTo>
                <a:lnTo>
                  <a:pt x="1898" y="2545"/>
                </a:lnTo>
                <a:lnTo>
                  <a:pt x="1975" y="2531"/>
                </a:lnTo>
                <a:lnTo>
                  <a:pt x="2053" y="2516"/>
                </a:lnTo>
                <a:lnTo>
                  <a:pt x="2131" y="2499"/>
                </a:lnTo>
                <a:lnTo>
                  <a:pt x="2208" y="2480"/>
                </a:lnTo>
                <a:lnTo>
                  <a:pt x="2286" y="2461"/>
                </a:lnTo>
                <a:lnTo>
                  <a:pt x="2362" y="2438"/>
                </a:lnTo>
                <a:lnTo>
                  <a:pt x="2439" y="2415"/>
                </a:lnTo>
                <a:lnTo>
                  <a:pt x="2515" y="2390"/>
                </a:lnTo>
                <a:lnTo>
                  <a:pt x="2592" y="2363"/>
                </a:lnTo>
                <a:lnTo>
                  <a:pt x="2668" y="2335"/>
                </a:lnTo>
                <a:lnTo>
                  <a:pt x="2742" y="2304"/>
                </a:lnTo>
                <a:lnTo>
                  <a:pt x="2817" y="2273"/>
                </a:lnTo>
                <a:lnTo>
                  <a:pt x="2893" y="2241"/>
                </a:lnTo>
                <a:lnTo>
                  <a:pt x="2966" y="2207"/>
                </a:lnTo>
                <a:lnTo>
                  <a:pt x="3040" y="2170"/>
                </a:lnTo>
                <a:lnTo>
                  <a:pt x="3113" y="2132"/>
                </a:lnTo>
                <a:lnTo>
                  <a:pt x="3187" y="2092"/>
                </a:lnTo>
                <a:lnTo>
                  <a:pt x="3258" y="2052"/>
                </a:lnTo>
                <a:lnTo>
                  <a:pt x="3330" y="2010"/>
                </a:lnTo>
                <a:lnTo>
                  <a:pt x="3401" y="1966"/>
                </a:lnTo>
                <a:lnTo>
                  <a:pt x="3472" y="1920"/>
                </a:lnTo>
                <a:lnTo>
                  <a:pt x="3541" y="1872"/>
                </a:lnTo>
                <a:lnTo>
                  <a:pt x="3611" y="1823"/>
                </a:lnTo>
                <a:lnTo>
                  <a:pt x="3678" y="1773"/>
                </a:lnTo>
                <a:lnTo>
                  <a:pt x="3747" y="1721"/>
                </a:lnTo>
                <a:lnTo>
                  <a:pt x="3814" y="1668"/>
                </a:lnTo>
                <a:lnTo>
                  <a:pt x="3879" y="1613"/>
                </a:lnTo>
                <a:lnTo>
                  <a:pt x="3943" y="1555"/>
                </a:lnTo>
                <a:lnTo>
                  <a:pt x="4008" y="1498"/>
                </a:lnTo>
                <a:lnTo>
                  <a:pt x="4071" y="1437"/>
                </a:lnTo>
                <a:lnTo>
                  <a:pt x="4134" y="1376"/>
                </a:lnTo>
                <a:lnTo>
                  <a:pt x="4195" y="1313"/>
                </a:lnTo>
                <a:lnTo>
                  <a:pt x="4257" y="1248"/>
                </a:lnTo>
                <a:lnTo>
                  <a:pt x="4316" y="1183"/>
                </a:lnTo>
                <a:lnTo>
                  <a:pt x="4375" y="1114"/>
                </a:lnTo>
                <a:lnTo>
                  <a:pt x="4432" y="1045"/>
                </a:lnTo>
                <a:lnTo>
                  <a:pt x="4488" y="975"/>
                </a:lnTo>
                <a:lnTo>
                  <a:pt x="4543" y="902"/>
                </a:lnTo>
                <a:lnTo>
                  <a:pt x="4598" y="827"/>
                </a:lnTo>
                <a:lnTo>
                  <a:pt x="4598" y="827"/>
                </a:lnTo>
                <a:lnTo>
                  <a:pt x="4449" y="698"/>
                </a:lnTo>
                <a:lnTo>
                  <a:pt x="4301" y="573"/>
                </a:lnTo>
                <a:lnTo>
                  <a:pt x="4301" y="573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12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" name="Group 109"/>
          <p:cNvGrpSpPr/>
          <p:nvPr/>
        </p:nvGrpSpPr>
        <p:grpSpPr>
          <a:xfrm>
            <a:off x="3380168" y="1752600"/>
            <a:ext cx="5143096" cy="2727399"/>
            <a:chOff x="1447800" y="1600200"/>
            <a:chExt cx="5029200" cy="2667000"/>
          </a:xfrm>
        </p:grpSpPr>
        <p:sp>
          <p:nvSpPr>
            <p:cNvPr id="111" name="Rectangle 110"/>
            <p:cNvSpPr/>
            <p:nvPr/>
          </p:nvSpPr>
          <p:spPr>
            <a:xfrm>
              <a:off x="1447800" y="1600200"/>
              <a:ext cx="5029200" cy="2667000"/>
            </a:xfrm>
            <a:prstGeom prst="rect">
              <a:avLst/>
            </a:prstGeom>
            <a:noFill/>
            <a:ln>
              <a:solidFill>
                <a:srgbClr val="D5D5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780903" y="1600200"/>
              <a:ext cx="4362994" cy="2667000"/>
              <a:chOff x="1828800" y="1600200"/>
              <a:chExt cx="4362994" cy="2819400"/>
            </a:xfrm>
          </p:grpSpPr>
          <p:cxnSp>
            <p:nvCxnSpPr>
              <p:cNvPr id="121" name="Straight Connector 120"/>
              <p:cNvCxnSpPr/>
              <p:nvPr/>
            </p:nvCxnSpPr>
            <p:spPr>
              <a:xfrm>
                <a:off x="182880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/>
            </p:nvCxnSpPr>
            <p:spPr>
              <a:xfrm>
                <a:off x="216441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250003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>
                <a:off x="283564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317126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350687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384249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417810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451372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484933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518495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552056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585618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6191794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oup 112"/>
            <p:cNvGrpSpPr/>
            <p:nvPr/>
          </p:nvGrpSpPr>
          <p:grpSpPr>
            <a:xfrm rot="5400000">
              <a:off x="2955555" y="419100"/>
              <a:ext cx="2013690" cy="5029200"/>
              <a:chOff x="1828800" y="1600200"/>
              <a:chExt cx="2013690" cy="2819400"/>
            </a:xfrm>
          </p:grpSpPr>
          <p:cxnSp>
            <p:nvCxnSpPr>
              <p:cNvPr id="114" name="Straight Connector 113"/>
              <p:cNvCxnSpPr/>
              <p:nvPr/>
            </p:nvCxnSpPr>
            <p:spPr>
              <a:xfrm>
                <a:off x="182880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>
                <a:off x="216441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/>
            </p:nvCxnSpPr>
            <p:spPr>
              <a:xfrm>
                <a:off x="250003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283564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317126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3506875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/>
            </p:nvCxnSpPr>
            <p:spPr>
              <a:xfrm>
                <a:off x="3842490" y="1600200"/>
                <a:ext cx="0" cy="2819400"/>
              </a:xfrm>
              <a:prstGeom prst="line">
                <a:avLst/>
              </a:prstGeom>
              <a:ln w="28575">
                <a:solidFill>
                  <a:srgbClr val="D5D5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5" name="Group 134"/>
          <p:cNvGrpSpPr/>
          <p:nvPr/>
        </p:nvGrpSpPr>
        <p:grpSpPr>
          <a:xfrm rot="20933735" flipV="1">
            <a:off x="3211795" y="2553122"/>
            <a:ext cx="4758425" cy="1499244"/>
            <a:chOff x="1831010" y="2438573"/>
            <a:chExt cx="5107832" cy="1609332"/>
          </a:xfrm>
        </p:grpSpPr>
        <p:cxnSp>
          <p:nvCxnSpPr>
            <p:cNvPr id="136" name="Straight Connector 135"/>
            <p:cNvCxnSpPr/>
            <p:nvPr/>
          </p:nvCxnSpPr>
          <p:spPr>
            <a:xfrm rot="20996301">
              <a:off x="1831010" y="2438573"/>
              <a:ext cx="921326" cy="848836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 flipV="1">
              <a:off x="2769937" y="2705100"/>
              <a:ext cx="506663" cy="471237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3200400" y="2705100"/>
              <a:ext cx="1371600" cy="1034310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/>
          </p:nvCxnSpPr>
          <p:spPr>
            <a:xfrm flipV="1">
              <a:off x="4523874" y="3208421"/>
              <a:ext cx="620294" cy="513347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/>
          </p:nvCxnSpPr>
          <p:spPr>
            <a:xfrm rot="20996301">
              <a:off x="5121934" y="3142925"/>
              <a:ext cx="606388" cy="585820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/>
          </p:nvCxnSpPr>
          <p:spPr>
            <a:xfrm rot="20996301" flipV="1">
              <a:off x="5677763" y="3468949"/>
              <a:ext cx="756090" cy="116264"/>
            </a:xfrm>
            <a:prstGeom prst="line">
              <a:avLst/>
            </a:prstGeom>
            <a:ln w="101600">
              <a:solidFill>
                <a:srgbClr val="0D65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/>
          </p:nvCxnSpPr>
          <p:spPr>
            <a:xfrm rot="20996301">
              <a:off x="6412621" y="3376533"/>
              <a:ext cx="526221" cy="671372"/>
            </a:xfrm>
            <a:prstGeom prst="line">
              <a:avLst/>
            </a:prstGeom>
            <a:ln w="101600">
              <a:solidFill>
                <a:srgbClr val="0D65A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oup 142"/>
          <p:cNvGrpSpPr/>
          <p:nvPr/>
        </p:nvGrpSpPr>
        <p:grpSpPr>
          <a:xfrm rot="21415612" flipV="1">
            <a:off x="3346171" y="2908687"/>
            <a:ext cx="4758425" cy="1499244"/>
            <a:chOff x="1831010" y="2438573"/>
            <a:chExt cx="5107832" cy="1609332"/>
          </a:xfrm>
        </p:grpSpPr>
        <p:cxnSp>
          <p:nvCxnSpPr>
            <p:cNvPr id="144" name="Straight Connector 143"/>
            <p:cNvCxnSpPr/>
            <p:nvPr/>
          </p:nvCxnSpPr>
          <p:spPr>
            <a:xfrm rot="20996301">
              <a:off x="1831010" y="2438573"/>
              <a:ext cx="921326" cy="848836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 flipV="1">
              <a:off x="2769937" y="2705100"/>
              <a:ext cx="506663" cy="471237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/>
          </p:nvCxnSpPr>
          <p:spPr>
            <a:xfrm>
              <a:off x="3200400" y="2705100"/>
              <a:ext cx="1371600" cy="1034310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/>
            <p:cNvCxnSpPr/>
            <p:nvPr/>
          </p:nvCxnSpPr>
          <p:spPr>
            <a:xfrm flipV="1">
              <a:off x="4523874" y="3208421"/>
              <a:ext cx="620294" cy="513347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/>
            <p:nvPr/>
          </p:nvCxnSpPr>
          <p:spPr>
            <a:xfrm rot="20996301">
              <a:off x="5121934" y="3142925"/>
              <a:ext cx="606388" cy="585820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/>
          </p:nvCxnSpPr>
          <p:spPr>
            <a:xfrm rot="20996301" flipV="1">
              <a:off x="5677763" y="3468949"/>
              <a:ext cx="756090" cy="116264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/>
          </p:nvCxnSpPr>
          <p:spPr>
            <a:xfrm rot="20996301">
              <a:off x="6412621" y="3376533"/>
              <a:ext cx="526221" cy="671372"/>
            </a:xfrm>
            <a:prstGeom prst="line">
              <a:avLst/>
            </a:prstGeom>
            <a:ln w="1016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/>
          <p:cNvGrpSpPr/>
          <p:nvPr/>
        </p:nvGrpSpPr>
        <p:grpSpPr>
          <a:xfrm rot="288088" flipV="1">
            <a:off x="3449857" y="3209742"/>
            <a:ext cx="4758425" cy="1499244"/>
            <a:chOff x="1831010" y="2438573"/>
            <a:chExt cx="5107832" cy="1609332"/>
          </a:xfrm>
        </p:grpSpPr>
        <p:cxnSp>
          <p:nvCxnSpPr>
            <p:cNvPr id="152" name="Straight Connector 151"/>
            <p:cNvCxnSpPr/>
            <p:nvPr/>
          </p:nvCxnSpPr>
          <p:spPr>
            <a:xfrm rot="20996301">
              <a:off x="1831010" y="2438573"/>
              <a:ext cx="921326" cy="848836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V="1">
              <a:off x="2769937" y="2705100"/>
              <a:ext cx="506663" cy="471237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>
              <a:off x="3200400" y="2705100"/>
              <a:ext cx="1371600" cy="1034310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/>
            <p:nvPr/>
          </p:nvCxnSpPr>
          <p:spPr>
            <a:xfrm flipV="1">
              <a:off x="4523874" y="3208421"/>
              <a:ext cx="620294" cy="513347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 rot="20996301">
              <a:off x="5121934" y="3142925"/>
              <a:ext cx="606388" cy="585820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/>
          </p:nvCxnSpPr>
          <p:spPr>
            <a:xfrm rot="20996301" flipV="1">
              <a:off x="5677763" y="3468949"/>
              <a:ext cx="756090" cy="116264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/>
          </p:nvCxnSpPr>
          <p:spPr>
            <a:xfrm rot="20996301">
              <a:off x="6412621" y="3376533"/>
              <a:ext cx="526221" cy="671372"/>
            </a:xfrm>
            <a:prstGeom prst="line">
              <a:avLst/>
            </a:prstGeom>
            <a:ln w="1016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9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90" name="TextBox 89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GROWTH FORECAST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91" name="Straight Connector 90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9" name="Group 78"/>
          <p:cNvGrpSpPr/>
          <p:nvPr/>
        </p:nvGrpSpPr>
        <p:grpSpPr>
          <a:xfrm flipH="1">
            <a:off x="389596" y="1980223"/>
            <a:ext cx="3368367" cy="2420256"/>
            <a:chOff x="3112297" y="2359428"/>
            <a:chExt cx="4196734" cy="3015458"/>
          </a:xfrm>
        </p:grpSpPr>
        <p:sp>
          <p:nvSpPr>
            <p:cNvPr id="92" name="Freeform 12"/>
            <p:cNvSpPr>
              <a:spLocks/>
            </p:cNvSpPr>
            <p:nvPr/>
          </p:nvSpPr>
          <p:spPr bwMode="auto">
            <a:xfrm rot="20311516">
              <a:off x="3112297" y="2359428"/>
              <a:ext cx="3824288" cy="2676525"/>
            </a:xfrm>
            <a:custGeom>
              <a:avLst/>
              <a:gdLst>
                <a:gd name="T0" fmla="*/ 3597 w 4818"/>
                <a:gd name="T1" fmla="*/ 609 h 3371"/>
                <a:gd name="T2" fmla="*/ 3800 w 4818"/>
                <a:gd name="T3" fmla="*/ 523 h 3371"/>
                <a:gd name="T4" fmla="*/ 4000 w 4818"/>
                <a:gd name="T5" fmla="*/ 418 h 3371"/>
                <a:gd name="T6" fmla="*/ 4195 w 4818"/>
                <a:gd name="T7" fmla="*/ 296 h 3371"/>
                <a:gd name="T8" fmla="*/ 4386 w 4818"/>
                <a:gd name="T9" fmla="*/ 156 h 3371"/>
                <a:gd name="T10" fmla="*/ 4569 w 4818"/>
                <a:gd name="T11" fmla="*/ 0 h 3371"/>
                <a:gd name="T12" fmla="*/ 4619 w 4818"/>
                <a:gd name="T13" fmla="*/ 156 h 3371"/>
                <a:gd name="T14" fmla="*/ 4682 w 4818"/>
                <a:gd name="T15" fmla="*/ 399 h 3371"/>
                <a:gd name="T16" fmla="*/ 4736 w 4818"/>
                <a:gd name="T17" fmla="*/ 651 h 3371"/>
                <a:gd name="T18" fmla="*/ 4776 w 4818"/>
                <a:gd name="T19" fmla="*/ 909 h 3371"/>
                <a:gd name="T20" fmla="*/ 4806 w 4818"/>
                <a:gd name="T21" fmla="*/ 1176 h 3371"/>
                <a:gd name="T22" fmla="*/ 4818 w 4818"/>
                <a:gd name="T23" fmla="*/ 1358 h 3371"/>
                <a:gd name="T24" fmla="*/ 4436 w 4818"/>
                <a:gd name="T25" fmla="*/ 1241 h 3371"/>
                <a:gd name="T26" fmla="*/ 4293 w 4818"/>
                <a:gd name="T27" fmla="*/ 1455 h 3371"/>
                <a:gd name="T28" fmla="*/ 4140 w 4818"/>
                <a:gd name="T29" fmla="*/ 1660 h 3371"/>
                <a:gd name="T30" fmla="*/ 3976 w 4818"/>
                <a:gd name="T31" fmla="*/ 1853 h 3371"/>
                <a:gd name="T32" fmla="*/ 3804 w 4818"/>
                <a:gd name="T33" fmla="*/ 2034 h 3371"/>
                <a:gd name="T34" fmla="*/ 3624 w 4818"/>
                <a:gd name="T35" fmla="*/ 2206 h 3371"/>
                <a:gd name="T36" fmla="*/ 3435 w 4818"/>
                <a:gd name="T37" fmla="*/ 2366 h 3371"/>
                <a:gd name="T38" fmla="*/ 3239 w 4818"/>
                <a:gd name="T39" fmla="*/ 2517 h 3371"/>
                <a:gd name="T40" fmla="*/ 3036 w 4818"/>
                <a:gd name="T41" fmla="*/ 2655 h 3371"/>
                <a:gd name="T42" fmla="*/ 2826 w 4818"/>
                <a:gd name="T43" fmla="*/ 2783 h 3371"/>
                <a:gd name="T44" fmla="*/ 2610 w 4818"/>
                <a:gd name="T45" fmla="*/ 2897 h 3371"/>
                <a:gd name="T46" fmla="*/ 2391 w 4818"/>
                <a:gd name="T47" fmla="*/ 3001 h 3371"/>
                <a:gd name="T48" fmla="*/ 2163 w 4818"/>
                <a:gd name="T49" fmla="*/ 3090 h 3371"/>
                <a:gd name="T50" fmla="*/ 1934 w 4818"/>
                <a:gd name="T51" fmla="*/ 3171 h 3371"/>
                <a:gd name="T52" fmla="*/ 1699 w 4818"/>
                <a:gd name="T53" fmla="*/ 3236 h 3371"/>
                <a:gd name="T54" fmla="*/ 1463 w 4818"/>
                <a:gd name="T55" fmla="*/ 3289 h 3371"/>
                <a:gd name="T56" fmla="*/ 1224 w 4818"/>
                <a:gd name="T57" fmla="*/ 3329 h 3371"/>
                <a:gd name="T58" fmla="*/ 981 w 4818"/>
                <a:gd name="T59" fmla="*/ 3356 h 3371"/>
                <a:gd name="T60" fmla="*/ 737 w 4818"/>
                <a:gd name="T61" fmla="*/ 3369 h 3371"/>
                <a:gd name="T62" fmla="*/ 493 w 4818"/>
                <a:gd name="T63" fmla="*/ 3369 h 3371"/>
                <a:gd name="T64" fmla="*/ 246 w 4818"/>
                <a:gd name="T65" fmla="*/ 3354 h 3371"/>
                <a:gd name="T66" fmla="*/ 0 w 4818"/>
                <a:gd name="T67" fmla="*/ 3325 h 3371"/>
                <a:gd name="T68" fmla="*/ 166 w 4818"/>
                <a:gd name="T69" fmla="*/ 3320 h 3371"/>
                <a:gd name="T70" fmla="*/ 411 w 4818"/>
                <a:gd name="T71" fmla="*/ 3299 h 3371"/>
                <a:gd name="T72" fmla="*/ 649 w 4818"/>
                <a:gd name="T73" fmla="*/ 3264 h 3371"/>
                <a:gd name="T74" fmla="*/ 882 w 4818"/>
                <a:gd name="T75" fmla="*/ 3218 h 3371"/>
                <a:gd name="T76" fmla="*/ 1111 w 4818"/>
                <a:gd name="T77" fmla="*/ 3161 h 3371"/>
                <a:gd name="T78" fmla="*/ 1335 w 4818"/>
                <a:gd name="T79" fmla="*/ 3092 h 3371"/>
                <a:gd name="T80" fmla="*/ 1552 w 4818"/>
                <a:gd name="T81" fmla="*/ 3012 h 3371"/>
                <a:gd name="T82" fmla="*/ 1762 w 4818"/>
                <a:gd name="T83" fmla="*/ 2920 h 3371"/>
                <a:gd name="T84" fmla="*/ 1967 w 4818"/>
                <a:gd name="T85" fmla="*/ 2819 h 3371"/>
                <a:gd name="T86" fmla="*/ 2165 w 4818"/>
                <a:gd name="T87" fmla="*/ 2708 h 3371"/>
                <a:gd name="T88" fmla="*/ 2356 w 4818"/>
                <a:gd name="T89" fmla="*/ 2588 h 3371"/>
                <a:gd name="T90" fmla="*/ 2538 w 4818"/>
                <a:gd name="T91" fmla="*/ 2460 h 3371"/>
                <a:gd name="T92" fmla="*/ 2713 w 4818"/>
                <a:gd name="T93" fmla="*/ 2321 h 3371"/>
                <a:gd name="T94" fmla="*/ 2881 w 4818"/>
                <a:gd name="T95" fmla="*/ 2175 h 3371"/>
                <a:gd name="T96" fmla="*/ 3040 w 4818"/>
                <a:gd name="T97" fmla="*/ 2021 h 3371"/>
                <a:gd name="T98" fmla="*/ 3191 w 4818"/>
                <a:gd name="T99" fmla="*/ 1860 h 3371"/>
                <a:gd name="T100" fmla="*/ 3332 w 4818"/>
                <a:gd name="T101" fmla="*/ 1690 h 3371"/>
                <a:gd name="T102" fmla="*/ 3464 w 4818"/>
                <a:gd name="T103" fmla="*/ 1516 h 3371"/>
                <a:gd name="T104" fmla="*/ 3588 w 4818"/>
                <a:gd name="T105" fmla="*/ 1335 h 3371"/>
                <a:gd name="T106" fmla="*/ 3701 w 4818"/>
                <a:gd name="T107" fmla="*/ 1148 h 3371"/>
                <a:gd name="T108" fmla="*/ 3804 w 4818"/>
                <a:gd name="T109" fmla="*/ 955 h 3371"/>
                <a:gd name="T110" fmla="*/ 3867 w 4818"/>
                <a:gd name="T111" fmla="*/ 823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18" h="3371">
                  <a:moveTo>
                    <a:pt x="3529" y="634"/>
                  </a:moveTo>
                  <a:lnTo>
                    <a:pt x="3529" y="634"/>
                  </a:lnTo>
                  <a:lnTo>
                    <a:pt x="3597" y="609"/>
                  </a:lnTo>
                  <a:lnTo>
                    <a:pt x="3664" y="582"/>
                  </a:lnTo>
                  <a:lnTo>
                    <a:pt x="3733" y="554"/>
                  </a:lnTo>
                  <a:lnTo>
                    <a:pt x="3800" y="523"/>
                  </a:lnTo>
                  <a:lnTo>
                    <a:pt x="3867" y="489"/>
                  </a:lnTo>
                  <a:lnTo>
                    <a:pt x="3934" y="454"/>
                  </a:lnTo>
                  <a:lnTo>
                    <a:pt x="4000" y="418"/>
                  </a:lnTo>
                  <a:lnTo>
                    <a:pt x="4065" y="380"/>
                  </a:lnTo>
                  <a:lnTo>
                    <a:pt x="4130" y="340"/>
                  </a:lnTo>
                  <a:lnTo>
                    <a:pt x="4195" y="296"/>
                  </a:lnTo>
                  <a:lnTo>
                    <a:pt x="4260" y="252"/>
                  </a:lnTo>
                  <a:lnTo>
                    <a:pt x="4323" y="206"/>
                  </a:lnTo>
                  <a:lnTo>
                    <a:pt x="4386" y="156"/>
                  </a:lnTo>
                  <a:lnTo>
                    <a:pt x="4447" y="107"/>
                  </a:lnTo>
                  <a:lnTo>
                    <a:pt x="4510" y="53"/>
                  </a:lnTo>
                  <a:lnTo>
                    <a:pt x="4569" y="0"/>
                  </a:lnTo>
                  <a:lnTo>
                    <a:pt x="4569" y="0"/>
                  </a:lnTo>
                  <a:lnTo>
                    <a:pt x="4594" y="78"/>
                  </a:lnTo>
                  <a:lnTo>
                    <a:pt x="4619" y="156"/>
                  </a:lnTo>
                  <a:lnTo>
                    <a:pt x="4640" y="237"/>
                  </a:lnTo>
                  <a:lnTo>
                    <a:pt x="4663" y="317"/>
                  </a:lnTo>
                  <a:lnTo>
                    <a:pt x="4682" y="399"/>
                  </a:lnTo>
                  <a:lnTo>
                    <a:pt x="4701" y="481"/>
                  </a:lnTo>
                  <a:lnTo>
                    <a:pt x="4718" y="565"/>
                  </a:lnTo>
                  <a:lnTo>
                    <a:pt x="4736" y="651"/>
                  </a:lnTo>
                  <a:lnTo>
                    <a:pt x="4751" y="735"/>
                  </a:lnTo>
                  <a:lnTo>
                    <a:pt x="4764" y="823"/>
                  </a:lnTo>
                  <a:lnTo>
                    <a:pt x="4776" y="909"/>
                  </a:lnTo>
                  <a:lnTo>
                    <a:pt x="4787" y="997"/>
                  </a:lnTo>
                  <a:lnTo>
                    <a:pt x="4797" y="1087"/>
                  </a:lnTo>
                  <a:lnTo>
                    <a:pt x="4806" y="1176"/>
                  </a:lnTo>
                  <a:lnTo>
                    <a:pt x="4812" y="1266"/>
                  </a:lnTo>
                  <a:lnTo>
                    <a:pt x="4818" y="1358"/>
                  </a:lnTo>
                  <a:lnTo>
                    <a:pt x="4818" y="1358"/>
                  </a:lnTo>
                  <a:lnTo>
                    <a:pt x="4480" y="1169"/>
                  </a:lnTo>
                  <a:lnTo>
                    <a:pt x="4480" y="1169"/>
                  </a:lnTo>
                  <a:lnTo>
                    <a:pt x="4436" y="1241"/>
                  </a:lnTo>
                  <a:lnTo>
                    <a:pt x="4388" y="1314"/>
                  </a:lnTo>
                  <a:lnTo>
                    <a:pt x="4340" y="1385"/>
                  </a:lnTo>
                  <a:lnTo>
                    <a:pt x="4293" y="1455"/>
                  </a:lnTo>
                  <a:lnTo>
                    <a:pt x="4243" y="1524"/>
                  </a:lnTo>
                  <a:lnTo>
                    <a:pt x="4191" y="1593"/>
                  </a:lnTo>
                  <a:lnTo>
                    <a:pt x="4140" y="1660"/>
                  </a:lnTo>
                  <a:lnTo>
                    <a:pt x="4086" y="1725"/>
                  </a:lnTo>
                  <a:lnTo>
                    <a:pt x="4031" y="1790"/>
                  </a:lnTo>
                  <a:lnTo>
                    <a:pt x="3976" y="1853"/>
                  </a:lnTo>
                  <a:lnTo>
                    <a:pt x="3920" y="1914"/>
                  </a:lnTo>
                  <a:lnTo>
                    <a:pt x="3863" y="1975"/>
                  </a:lnTo>
                  <a:lnTo>
                    <a:pt x="3804" y="2034"/>
                  </a:lnTo>
                  <a:lnTo>
                    <a:pt x="3745" y="2093"/>
                  </a:lnTo>
                  <a:lnTo>
                    <a:pt x="3685" y="2151"/>
                  </a:lnTo>
                  <a:lnTo>
                    <a:pt x="3624" y="2206"/>
                  </a:lnTo>
                  <a:lnTo>
                    <a:pt x="3561" y="2261"/>
                  </a:lnTo>
                  <a:lnTo>
                    <a:pt x="3498" y="2315"/>
                  </a:lnTo>
                  <a:lnTo>
                    <a:pt x="3435" y="2366"/>
                  </a:lnTo>
                  <a:lnTo>
                    <a:pt x="3370" y="2418"/>
                  </a:lnTo>
                  <a:lnTo>
                    <a:pt x="3305" y="2468"/>
                  </a:lnTo>
                  <a:lnTo>
                    <a:pt x="3239" y="2517"/>
                  </a:lnTo>
                  <a:lnTo>
                    <a:pt x="3172" y="2565"/>
                  </a:lnTo>
                  <a:lnTo>
                    <a:pt x="3105" y="2611"/>
                  </a:lnTo>
                  <a:lnTo>
                    <a:pt x="3036" y="2655"/>
                  </a:lnTo>
                  <a:lnTo>
                    <a:pt x="2967" y="2699"/>
                  </a:lnTo>
                  <a:lnTo>
                    <a:pt x="2897" y="2741"/>
                  </a:lnTo>
                  <a:lnTo>
                    <a:pt x="2826" y="2783"/>
                  </a:lnTo>
                  <a:lnTo>
                    <a:pt x="2755" y="2821"/>
                  </a:lnTo>
                  <a:lnTo>
                    <a:pt x="2683" y="2861"/>
                  </a:lnTo>
                  <a:lnTo>
                    <a:pt x="2610" y="2897"/>
                  </a:lnTo>
                  <a:lnTo>
                    <a:pt x="2538" y="2934"/>
                  </a:lnTo>
                  <a:lnTo>
                    <a:pt x="2465" y="2968"/>
                  </a:lnTo>
                  <a:lnTo>
                    <a:pt x="2391" y="3001"/>
                  </a:lnTo>
                  <a:lnTo>
                    <a:pt x="2316" y="3031"/>
                  </a:lnTo>
                  <a:lnTo>
                    <a:pt x="2240" y="3062"/>
                  </a:lnTo>
                  <a:lnTo>
                    <a:pt x="2163" y="3090"/>
                  </a:lnTo>
                  <a:lnTo>
                    <a:pt x="2089" y="3119"/>
                  </a:lnTo>
                  <a:lnTo>
                    <a:pt x="2011" y="3146"/>
                  </a:lnTo>
                  <a:lnTo>
                    <a:pt x="1934" y="3171"/>
                  </a:lnTo>
                  <a:lnTo>
                    <a:pt x="1856" y="3194"/>
                  </a:lnTo>
                  <a:lnTo>
                    <a:pt x="1780" y="3215"/>
                  </a:lnTo>
                  <a:lnTo>
                    <a:pt x="1699" y="3236"/>
                  </a:lnTo>
                  <a:lnTo>
                    <a:pt x="1621" y="3255"/>
                  </a:lnTo>
                  <a:lnTo>
                    <a:pt x="1543" y="3272"/>
                  </a:lnTo>
                  <a:lnTo>
                    <a:pt x="1463" y="3289"/>
                  </a:lnTo>
                  <a:lnTo>
                    <a:pt x="1382" y="3304"/>
                  </a:lnTo>
                  <a:lnTo>
                    <a:pt x="1304" y="3318"/>
                  </a:lnTo>
                  <a:lnTo>
                    <a:pt x="1224" y="3329"/>
                  </a:lnTo>
                  <a:lnTo>
                    <a:pt x="1142" y="3339"/>
                  </a:lnTo>
                  <a:lnTo>
                    <a:pt x="1062" y="3348"/>
                  </a:lnTo>
                  <a:lnTo>
                    <a:pt x="981" y="3356"/>
                  </a:lnTo>
                  <a:lnTo>
                    <a:pt x="899" y="3362"/>
                  </a:lnTo>
                  <a:lnTo>
                    <a:pt x="819" y="3365"/>
                  </a:lnTo>
                  <a:lnTo>
                    <a:pt x="737" y="3369"/>
                  </a:lnTo>
                  <a:lnTo>
                    <a:pt x="655" y="3371"/>
                  </a:lnTo>
                  <a:lnTo>
                    <a:pt x="573" y="3369"/>
                  </a:lnTo>
                  <a:lnTo>
                    <a:pt x="493" y="3369"/>
                  </a:lnTo>
                  <a:lnTo>
                    <a:pt x="411" y="3365"/>
                  </a:lnTo>
                  <a:lnTo>
                    <a:pt x="328" y="3360"/>
                  </a:lnTo>
                  <a:lnTo>
                    <a:pt x="246" y="3354"/>
                  </a:lnTo>
                  <a:lnTo>
                    <a:pt x="164" y="3346"/>
                  </a:lnTo>
                  <a:lnTo>
                    <a:pt x="82" y="3337"/>
                  </a:lnTo>
                  <a:lnTo>
                    <a:pt x="0" y="3325"/>
                  </a:lnTo>
                  <a:lnTo>
                    <a:pt x="0" y="3325"/>
                  </a:lnTo>
                  <a:lnTo>
                    <a:pt x="84" y="3323"/>
                  </a:lnTo>
                  <a:lnTo>
                    <a:pt x="166" y="3320"/>
                  </a:lnTo>
                  <a:lnTo>
                    <a:pt x="248" y="3314"/>
                  </a:lnTo>
                  <a:lnTo>
                    <a:pt x="328" y="3306"/>
                  </a:lnTo>
                  <a:lnTo>
                    <a:pt x="411" y="3299"/>
                  </a:lnTo>
                  <a:lnTo>
                    <a:pt x="491" y="3289"/>
                  </a:lnTo>
                  <a:lnTo>
                    <a:pt x="569" y="3278"/>
                  </a:lnTo>
                  <a:lnTo>
                    <a:pt x="649" y="3264"/>
                  </a:lnTo>
                  <a:lnTo>
                    <a:pt x="728" y="3251"/>
                  </a:lnTo>
                  <a:lnTo>
                    <a:pt x="806" y="3236"/>
                  </a:lnTo>
                  <a:lnTo>
                    <a:pt x="882" y="3218"/>
                  </a:lnTo>
                  <a:lnTo>
                    <a:pt x="960" y="3201"/>
                  </a:lnTo>
                  <a:lnTo>
                    <a:pt x="1037" y="3182"/>
                  </a:lnTo>
                  <a:lnTo>
                    <a:pt x="1111" y="3161"/>
                  </a:lnTo>
                  <a:lnTo>
                    <a:pt x="1188" y="3140"/>
                  </a:lnTo>
                  <a:lnTo>
                    <a:pt x="1262" y="3115"/>
                  </a:lnTo>
                  <a:lnTo>
                    <a:pt x="1335" y="3092"/>
                  </a:lnTo>
                  <a:lnTo>
                    <a:pt x="1407" y="3066"/>
                  </a:lnTo>
                  <a:lnTo>
                    <a:pt x="1480" y="3039"/>
                  </a:lnTo>
                  <a:lnTo>
                    <a:pt x="1552" y="3012"/>
                  </a:lnTo>
                  <a:lnTo>
                    <a:pt x="1623" y="2983"/>
                  </a:lnTo>
                  <a:lnTo>
                    <a:pt x="1694" y="2953"/>
                  </a:lnTo>
                  <a:lnTo>
                    <a:pt x="1762" y="2920"/>
                  </a:lnTo>
                  <a:lnTo>
                    <a:pt x="1831" y="2888"/>
                  </a:lnTo>
                  <a:lnTo>
                    <a:pt x="1900" y="2855"/>
                  </a:lnTo>
                  <a:lnTo>
                    <a:pt x="1967" y="2819"/>
                  </a:lnTo>
                  <a:lnTo>
                    <a:pt x="2034" y="2785"/>
                  </a:lnTo>
                  <a:lnTo>
                    <a:pt x="2100" y="2747"/>
                  </a:lnTo>
                  <a:lnTo>
                    <a:pt x="2165" y="2708"/>
                  </a:lnTo>
                  <a:lnTo>
                    <a:pt x="2230" y="2670"/>
                  </a:lnTo>
                  <a:lnTo>
                    <a:pt x="2293" y="2630"/>
                  </a:lnTo>
                  <a:lnTo>
                    <a:pt x="2356" y="2588"/>
                  </a:lnTo>
                  <a:lnTo>
                    <a:pt x="2417" y="2546"/>
                  </a:lnTo>
                  <a:lnTo>
                    <a:pt x="2479" y="2504"/>
                  </a:lnTo>
                  <a:lnTo>
                    <a:pt x="2538" y="2460"/>
                  </a:lnTo>
                  <a:lnTo>
                    <a:pt x="2599" y="2414"/>
                  </a:lnTo>
                  <a:lnTo>
                    <a:pt x="2656" y="2368"/>
                  </a:lnTo>
                  <a:lnTo>
                    <a:pt x="2713" y="2321"/>
                  </a:lnTo>
                  <a:lnTo>
                    <a:pt x="2771" y="2273"/>
                  </a:lnTo>
                  <a:lnTo>
                    <a:pt x="2826" y="2225"/>
                  </a:lnTo>
                  <a:lnTo>
                    <a:pt x="2881" y="2175"/>
                  </a:lnTo>
                  <a:lnTo>
                    <a:pt x="2935" y="2124"/>
                  </a:lnTo>
                  <a:lnTo>
                    <a:pt x="2988" y="2074"/>
                  </a:lnTo>
                  <a:lnTo>
                    <a:pt x="3040" y="2021"/>
                  </a:lnTo>
                  <a:lnTo>
                    <a:pt x="3091" y="1967"/>
                  </a:lnTo>
                  <a:lnTo>
                    <a:pt x="3141" y="1914"/>
                  </a:lnTo>
                  <a:lnTo>
                    <a:pt x="3191" y="1860"/>
                  </a:lnTo>
                  <a:lnTo>
                    <a:pt x="3239" y="1805"/>
                  </a:lnTo>
                  <a:lnTo>
                    <a:pt x="3286" y="1748"/>
                  </a:lnTo>
                  <a:lnTo>
                    <a:pt x="3332" y="1690"/>
                  </a:lnTo>
                  <a:lnTo>
                    <a:pt x="3378" y="1633"/>
                  </a:lnTo>
                  <a:lnTo>
                    <a:pt x="3422" y="1576"/>
                  </a:lnTo>
                  <a:lnTo>
                    <a:pt x="3464" y="1516"/>
                  </a:lnTo>
                  <a:lnTo>
                    <a:pt x="3506" y="1457"/>
                  </a:lnTo>
                  <a:lnTo>
                    <a:pt x="3548" y="1396"/>
                  </a:lnTo>
                  <a:lnTo>
                    <a:pt x="3588" y="1335"/>
                  </a:lnTo>
                  <a:lnTo>
                    <a:pt x="3626" y="1274"/>
                  </a:lnTo>
                  <a:lnTo>
                    <a:pt x="3664" y="1211"/>
                  </a:lnTo>
                  <a:lnTo>
                    <a:pt x="3701" y="1148"/>
                  </a:lnTo>
                  <a:lnTo>
                    <a:pt x="3737" y="1085"/>
                  </a:lnTo>
                  <a:lnTo>
                    <a:pt x="3771" y="1020"/>
                  </a:lnTo>
                  <a:lnTo>
                    <a:pt x="3804" y="955"/>
                  </a:lnTo>
                  <a:lnTo>
                    <a:pt x="3836" y="890"/>
                  </a:lnTo>
                  <a:lnTo>
                    <a:pt x="3867" y="823"/>
                  </a:lnTo>
                  <a:lnTo>
                    <a:pt x="3867" y="823"/>
                  </a:lnTo>
                  <a:lnTo>
                    <a:pt x="3529" y="634"/>
                  </a:lnTo>
                  <a:lnTo>
                    <a:pt x="3529" y="634"/>
                  </a:lnTo>
                  <a:close/>
                </a:path>
              </a:pathLst>
            </a:cu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13"/>
            <p:cNvSpPr>
              <a:spLocks/>
            </p:cNvSpPr>
            <p:nvPr/>
          </p:nvSpPr>
          <p:spPr bwMode="auto">
            <a:xfrm rot="20518146">
              <a:off x="3377779" y="3313253"/>
              <a:ext cx="3931252" cy="2061633"/>
            </a:xfrm>
            <a:custGeom>
              <a:avLst/>
              <a:gdLst>
                <a:gd name="T0" fmla="*/ 4371 w 5446"/>
                <a:gd name="T1" fmla="*/ 549 h 2856"/>
                <a:gd name="T2" fmla="*/ 4581 w 5446"/>
                <a:gd name="T3" fmla="*/ 468 h 2856"/>
                <a:gd name="T4" fmla="*/ 4789 w 5446"/>
                <a:gd name="T5" fmla="*/ 375 h 2856"/>
                <a:gd name="T6" fmla="*/ 4994 w 5446"/>
                <a:gd name="T7" fmla="*/ 264 h 2856"/>
                <a:gd name="T8" fmla="*/ 5194 w 5446"/>
                <a:gd name="T9" fmla="*/ 140 h 2856"/>
                <a:gd name="T10" fmla="*/ 5391 w 5446"/>
                <a:gd name="T11" fmla="*/ 0 h 2856"/>
                <a:gd name="T12" fmla="*/ 5414 w 5446"/>
                <a:gd name="T13" fmla="*/ 195 h 2856"/>
                <a:gd name="T14" fmla="*/ 5437 w 5446"/>
                <a:gd name="T15" fmla="*/ 493 h 2856"/>
                <a:gd name="T16" fmla="*/ 5446 w 5446"/>
                <a:gd name="T17" fmla="*/ 795 h 2856"/>
                <a:gd name="T18" fmla="*/ 5440 w 5446"/>
                <a:gd name="T19" fmla="*/ 1103 h 2856"/>
                <a:gd name="T20" fmla="*/ 5418 w 5446"/>
                <a:gd name="T21" fmla="*/ 1414 h 2856"/>
                <a:gd name="T22" fmla="*/ 5395 w 5446"/>
                <a:gd name="T23" fmla="*/ 1624 h 2856"/>
                <a:gd name="T24" fmla="*/ 5118 w 5446"/>
                <a:gd name="T25" fmla="*/ 1328 h 2856"/>
                <a:gd name="T26" fmla="*/ 4910 w 5446"/>
                <a:gd name="T27" fmla="*/ 1549 h 2856"/>
                <a:gd name="T28" fmla="*/ 4690 w 5446"/>
                <a:gd name="T29" fmla="*/ 1754 h 2856"/>
                <a:gd name="T30" fmla="*/ 4461 w 5446"/>
                <a:gd name="T31" fmla="*/ 1939 h 2856"/>
                <a:gd name="T32" fmla="*/ 4226 w 5446"/>
                <a:gd name="T33" fmla="*/ 2109 h 2856"/>
                <a:gd name="T34" fmla="*/ 3985 w 5446"/>
                <a:gd name="T35" fmla="*/ 2260 h 2856"/>
                <a:gd name="T36" fmla="*/ 3737 w 5446"/>
                <a:gd name="T37" fmla="*/ 2396 h 2856"/>
                <a:gd name="T38" fmla="*/ 3487 w 5446"/>
                <a:gd name="T39" fmla="*/ 2512 h 2856"/>
                <a:gd name="T40" fmla="*/ 3233 w 5446"/>
                <a:gd name="T41" fmla="*/ 2612 h 2856"/>
                <a:gd name="T42" fmla="*/ 2977 w 5446"/>
                <a:gd name="T43" fmla="*/ 2694 h 2856"/>
                <a:gd name="T44" fmla="*/ 2719 w 5446"/>
                <a:gd name="T45" fmla="*/ 2759 h 2856"/>
                <a:gd name="T46" fmla="*/ 2548 w 5446"/>
                <a:gd name="T47" fmla="*/ 2793 h 2856"/>
                <a:gd name="T48" fmla="*/ 2290 w 5446"/>
                <a:gd name="T49" fmla="*/ 2831 h 2856"/>
                <a:gd name="T50" fmla="*/ 2036 w 5446"/>
                <a:gd name="T51" fmla="*/ 2850 h 2856"/>
                <a:gd name="T52" fmla="*/ 1782 w 5446"/>
                <a:gd name="T53" fmla="*/ 2856 h 2856"/>
                <a:gd name="T54" fmla="*/ 1532 w 5446"/>
                <a:gd name="T55" fmla="*/ 2843 h 2856"/>
                <a:gd name="T56" fmla="*/ 1285 w 5446"/>
                <a:gd name="T57" fmla="*/ 2816 h 2856"/>
                <a:gd name="T58" fmla="*/ 1043 w 5446"/>
                <a:gd name="T59" fmla="*/ 2774 h 2856"/>
                <a:gd name="T60" fmla="*/ 808 w 5446"/>
                <a:gd name="T61" fmla="*/ 2715 h 2856"/>
                <a:gd name="T62" fmla="*/ 577 w 5446"/>
                <a:gd name="T63" fmla="*/ 2642 h 2856"/>
                <a:gd name="T64" fmla="*/ 355 w 5446"/>
                <a:gd name="T65" fmla="*/ 2556 h 2856"/>
                <a:gd name="T66" fmla="*/ 140 w 5446"/>
                <a:gd name="T67" fmla="*/ 2455 h 2856"/>
                <a:gd name="T68" fmla="*/ 0 w 5446"/>
                <a:gd name="T69" fmla="*/ 2380 h 2856"/>
                <a:gd name="T70" fmla="*/ 216 w 5446"/>
                <a:gd name="T71" fmla="*/ 2453 h 2856"/>
                <a:gd name="T72" fmla="*/ 438 w 5446"/>
                <a:gd name="T73" fmla="*/ 2510 h 2856"/>
                <a:gd name="T74" fmla="*/ 661 w 5446"/>
                <a:gd name="T75" fmla="*/ 2554 h 2856"/>
                <a:gd name="T76" fmla="*/ 890 w 5446"/>
                <a:gd name="T77" fmla="*/ 2583 h 2856"/>
                <a:gd name="T78" fmla="*/ 1121 w 5446"/>
                <a:gd name="T79" fmla="*/ 2598 h 2856"/>
                <a:gd name="T80" fmla="*/ 1352 w 5446"/>
                <a:gd name="T81" fmla="*/ 2600 h 2856"/>
                <a:gd name="T82" fmla="*/ 1585 w 5446"/>
                <a:gd name="T83" fmla="*/ 2585 h 2856"/>
                <a:gd name="T84" fmla="*/ 1820 w 5446"/>
                <a:gd name="T85" fmla="*/ 2558 h 2856"/>
                <a:gd name="T86" fmla="*/ 2053 w 5446"/>
                <a:gd name="T87" fmla="*/ 2516 h 2856"/>
                <a:gd name="T88" fmla="*/ 2286 w 5446"/>
                <a:gd name="T89" fmla="*/ 2461 h 2856"/>
                <a:gd name="T90" fmla="*/ 2515 w 5446"/>
                <a:gd name="T91" fmla="*/ 2390 h 2856"/>
                <a:gd name="T92" fmla="*/ 2742 w 5446"/>
                <a:gd name="T93" fmla="*/ 2304 h 2856"/>
                <a:gd name="T94" fmla="*/ 2966 w 5446"/>
                <a:gd name="T95" fmla="*/ 2207 h 2856"/>
                <a:gd name="T96" fmla="*/ 3187 w 5446"/>
                <a:gd name="T97" fmla="*/ 2092 h 2856"/>
                <a:gd name="T98" fmla="*/ 3401 w 5446"/>
                <a:gd name="T99" fmla="*/ 1966 h 2856"/>
                <a:gd name="T100" fmla="*/ 3611 w 5446"/>
                <a:gd name="T101" fmla="*/ 1823 h 2856"/>
                <a:gd name="T102" fmla="*/ 3814 w 5446"/>
                <a:gd name="T103" fmla="*/ 1668 h 2856"/>
                <a:gd name="T104" fmla="*/ 4008 w 5446"/>
                <a:gd name="T105" fmla="*/ 1498 h 2856"/>
                <a:gd name="T106" fmla="*/ 4195 w 5446"/>
                <a:gd name="T107" fmla="*/ 1313 h 2856"/>
                <a:gd name="T108" fmla="*/ 4375 w 5446"/>
                <a:gd name="T109" fmla="*/ 1114 h 2856"/>
                <a:gd name="T110" fmla="*/ 4543 w 5446"/>
                <a:gd name="T111" fmla="*/ 902 h 2856"/>
                <a:gd name="T112" fmla="*/ 4449 w 5446"/>
                <a:gd name="T113" fmla="*/ 698 h 2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446" h="2856">
                  <a:moveTo>
                    <a:pt x="4301" y="573"/>
                  </a:moveTo>
                  <a:lnTo>
                    <a:pt x="4301" y="573"/>
                  </a:lnTo>
                  <a:lnTo>
                    <a:pt x="4371" y="549"/>
                  </a:lnTo>
                  <a:lnTo>
                    <a:pt x="4442" y="524"/>
                  </a:lnTo>
                  <a:lnTo>
                    <a:pt x="4512" y="497"/>
                  </a:lnTo>
                  <a:lnTo>
                    <a:pt x="4581" y="468"/>
                  </a:lnTo>
                  <a:lnTo>
                    <a:pt x="4652" y="438"/>
                  </a:lnTo>
                  <a:lnTo>
                    <a:pt x="4721" y="407"/>
                  </a:lnTo>
                  <a:lnTo>
                    <a:pt x="4789" y="375"/>
                  </a:lnTo>
                  <a:lnTo>
                    <a:pt x="4858" y="338"/>
                  </a:lnTo>
                  <a:lnTo>
                    <a:pt x="4925" y="302"/>
                  </a:lnTo>
                  <a:lnTo>
                    <a:pt x="4994" y="264"/>
                  </a:lnTo>
                  <a:lnTo>
                    <a:pt x="5060" y="224"/>
                  </a:lnTo>
                  <a:lnTo>
                    <a:pt x="5127" y="184"/>
                  </a:lnTo>
                  <a:lnTo>
                    <a:pt x="5194" y="140"/>
                  </a:lnTo>
                  <a:lnTo>
                    <a:pt x="5261" y="96"/>
                  </a:lnTo>
                  <a:lnTo>
                    <a:pt x="5326" y="50"/>
                  </a:lnTo>
                  <a:lnTo>
                    <a:pt x="5391" y="0"/>
                  </a:lnTo>
                  <a:lnTo>
                    <a:pt x="5391" y="0"/>
                  </a:lnTo>
                  <a:lnTo>
                    <a:pt x="5404" y="98"/>
                  </a:lnTo>
                  <a:lnTo>
                    <a:pt x="5414" y="195"/>
                  </a:lnTo>
                  <a:lnTo>
                    <a:pt x="5423" y="295"/>
                  </a:lnTo>
                  <a:lnTo>
                    <a:pt x="5431" y="394"/>
                  </a:lnTo>
                  <a:lnTo>
                    <a:pt x="5437" y="493"/>
                  </a:lnTo>
                  <a:lnTo>
                    <a:pt x="5442" y="594"/>
                  </a:lnTo>
                  <a:lnTo>
                    <a:pt x="5444" y="694"/>
                  </a:lnTo>
                  <a:lnTo>
                    <a:pt x="5446" y="795"/>
                  </a:lnTo>
                  <a:lnTo>
                    <a:pt x="5446" y="898"/>
                  </a:lnTo>
                  <a:lnTo>
                    <a:pt x="5444" y="999"/>
                  </a:lnTo>
                  <a:lnTo>
                    <a:pt x="5440" y="1103"/>
                  </a:lnTo>
                  <a:lnTo>
                    <a:pt x="5435" y="1206"/>
                  </a:lnTo>
                  <a:lnTo>
                    <a:pt x="5427" y="1311"/>
                  </a:lnTo>
                  <a:lnTo>
                    <a:pt x="5418" y="1414"/>
                  </a:lnTo>
                  <a:lnTo>
                    <a:pt x="5408" y="1519"/>
                  </a:lnTo>
                  <a:lnTo>
                    <a:pt x="5395" y="1624"/>
                  </a:lnTo>
                  <a:lnTo>
                    <a:pt x="5395" y="1624"/>
                  </a:lnTo>
                  <a:lnTo>
                    <a:pt x="5257" y="1473"/>
                  </a:lnTo>
                  <a:lnTo>
                    <a:pt x="5118" y="1328"/>
                  </a:lnTo>
                  <a:lnTo>
                    <a:pt x="5118" y="1328"/>
                  </a:lnTo>
                  <a:lnTo>
                    <a:pt x="5049" y="1404"/>
                  </a:lnTo>
                  <a:lnTo>
                    <a:pt x="4980" y="1477"/>
                  </a:lnTo>
                  <a:lnTo>
                    <a:pt x="4910" y="1549"/>
                  </a:lnTo>
                  <a:lnTo>
                    <a:pt x="4837" y="1620"/>
                  </a:lnTo>
                  <a:lnTo>
                    <a:pt x="4763" y="1687"/>
                  </a:lnTo>
                  <a:lnTo>
                    <a:pt x="4690" y="1754"/>
                  </a:lnTo>
                  <a:lnTo>
                    <a:pt x="4614" y="1817"/>
                  </a:lnTo>
                  <a:lnTo>
                    <a:pt x="4539" y="1880"/>
                  </a:lnTo>
                  <a:lnTo>
                    <a:pt x="4461" y="1939"/>
                  </a:lnTo>
                  <a:lnTo>
                    <a:pt x="4385" y="1998"/>
                  </a:lnTo>
                  <a:lnTo>
                    <a:pt x="4306" y="2054"/>
                  </a:lnTo>
                  <a:lnTo>
                    <a:pt x="4226" y="2109"/>
                  </a:lnTo>
                  <a:lnTo>
                    <a:pt x="4146" y="2161"/>
                  </a:lnTo>
                  <a:lnTo>
                    <a:pt x="4066" y="2212"/>
                  </a:lnTo>
                  <a:lnTo>
                    <a:pt x="3985" y="2260"/>
                  </a:lnTo>
                  <a:lnTo>
                    <a:pt x="3903" y="2308"/>
                  </a:lnTo>
                  <a:lnTo>
                    <a:pt x="3821" y="2352"/>
                  </a:lnTo>
                  <a:lnTo>
                    <a:pt x="3737" y="2396"/>
                  </a:lnTo>
                  <a:lnTo>
                    <a:pt x="3655" y="2436"/>
                  </a:lnTo>
                  <a:lnTo>
                    <a:pt x="3571" y="2474"/>
                  </a:lnTo>
                  <a:lnTo>
                    <a:pt x="3487" y="2512"/>
                  </a:lnTo>
                  <a:lnTo>
                    <a:pt x="3403" y="2547"/>
                  </a:lnTo>
                  <a:lnTo>
                    <a:pt x="3317" y="2581"/>
                  </a:lnTo>
                  <a:lnTo>
                    <a:pt x="3233" y="2612"/>
                  </a:lnTo>
                  <a:lnTo>
                    <a:pt x="3147" y="2640"/>
                  </a:lnTo>
                  <a:lnTo>
                    <a:pt x="3061" y="2669"/>
                  </a:lnTo>
                  <a:lnTo>
                    <a:pt x="2977" y="2694"/>
                  </a:lnTo>
                  <a:lnTo>
                    <a:pt x="2891" y="2718"/>
                  </a:lnTo>
                  <a:lnTo>
                    <a:pt x="2805" y="2739"/>
                  </a:lnTo>
                  <a:lnTo>
                    <a:pt x="2719" y="2759"/>
                  </a:lnTo>
                  <a:lnTo>
                    <a:pt x="2634" y="2778"/>
                  </a:lnTo>
                  <a:lnTo>
                    <a:pt x="2548" y="2793"/>
                  </a:lnTo>
                  <a:lnTo>
                    <a:pt x="2548" y="2793"/>
                  </a:lnTo>
                  <a:lnTo>
                    <a:pt x="2462" y="2808"/>
                  </a:lnTo>
                  <a:lnTo>
                    <a:pt x="2376" y="2820"/>
                  </a:lnTo>
                  <a:lnTo>
                    <a:pt x="2290" y="2831"/>
                  </a:lnTo>
                  <a:lnTo>
                    <a:pt x="2206" y="2839"/>
                  </a:lnTo>
                  <a:lnTo>
                    <a:pt x="2120" y="2846"/>
                  </a:lnTo>
                  <a:lnTo>
                    <a:pt x="2036" y="2850"/>
                  </a:lnTo>
                  <a:lnTo>
                    <a:pt x="1950" y="2854"/>
                  </a:lnTo>
                  <a:lnTo>
                    <a:pt x="1866" y="2856"/>
                  </a:lnTo>
                  <a:lnTo>
                    <a:pt x="1782" y="2856"/>
                  </a:lnTo>
                  <a:lnTo>
                    <a:pt x="1698" y="2854"/>
                  </a:lnTo>
                  <a:lnTo>
                    <a:pt x="1614" y="2848"/>
                  </a:lnTo>
                  <a:lnTo>
                    <a:pt x="1532" y="2843"/>
                  </a:lnTo>
                  <a:lnTo>
                    <a:pt x="1450" y="2837"/>
                  </a:lnTo>
                  <a:lnTo>
                    <a:pt x="1368" y="2827"/>
                  </a:lnTo>
                  <a:lnTo>
                    <a:pt x="1285" y="2816"/>
                  </a:lnTo>
                  <a:lnTo>
                    <a:pt x="1203" y="2803"/>
                  </a:lnTo>
                  <a:lnTo>
                    <a:pt x="1123" y="2789"/>
                  </a:lnTo>
                  <a:lnTo>
                    <a:pt x="1043" y="2774"/>
                  </a:lnTo>
                  <a:lnTo>
                    <a:pt x="965" y="2755"/>
                  </a:lnTo>
                  <a:lnTo>
                    <a:pt x="884" y="2736"/>
                  </a:lnTo>
                  <a:lnTo>
                    <a:pt x="808" y="2715"/>
                  </a:lnTo>
                  <a:lnTo>
                    <a:pt x="730" y="2694"/>
                  </a:lnTo>
                  <a:lnTo>
                    <a:pt x="653" y="2669"/>
                  </a:lnTo>
                  <a:lnTo>
                    <a:pt x="577" y="2642"/>
                  </a:lnTo>
                  <a:lnTo>
                    <a:pt x="503" y="2615"/>
                  </a:lnTo>
                  <a:lnTo>
                    <a:pt x="428" y="2587"/>
                  </a:lnTo>
                  <a:lnTo>
                    <a:pt x="355" y="2556"/>
                  </a:lnTo>
                  <a:lnTo>
                    <a:pt x="283" y="2524"/>
                  </a:lnTo>
                  <a:lnTo>
                    <a:pt x="210" y="2491"/>
                  </a:lnTo>
                  <a:lnTo>
                    <a:pt x="140" y="2455"/>
                  </a:lnTo>
                  <a:lnTo>
                    <a:pt x="69" y="2419"/>
                  </a:lnTo>
                  <a:lnTo>
                    <a:pt x="0" y="2380"/>
                  </a:lnTo>
                  <a:lnTo>
                    <a:pt x="0" y="2380"/>
                  </a:lnTo>
                  <a:lnTo>
                    <a:pt x="73" y="2407"/>
                  </a:lnTo>
                  <a:lnTo>
                    <a:pt x="144" y="2430"/>
                  </a:lnTo>
                  <a:lnTo>
                    <a:pt x="216" y="2453"/>
                  </a:lnTo>
                  <a:lnTo>
                    <a:pt x="291" y="2474"/>
                  </a:lnTo>
                  <a:lnTo>
                    <a:pt x="363" y="2493"/>
                  </a:lnTo>
                  <a:lnTo>
                    <a:pt x="438" y="2510"/>
                  </a:lnTo>
                  <a:lnTo>
                    <a:pt x="512" y="2527"/>
                  </a:lnTo>
                  <a:lnTo>
                    <a:pt x="587" y="2541"/>
                  </a:lnTo>
                  <a:lnTo>
                    <a:pt x="661" y="2554"/>
                  </a:lnTo>
                  <a:lnTo>
                    <a:pt x="737" y="2566"/>
                  </a:lnTo>
                  <a:lnTo>
                    <a:pt x="814" y="2575"/>
                  </a:lnTo>
                  <a:lnTo>
                    <a:pt x="890" y="2583"/>
                  </a:lnTo>
                  <a:lnTo>
                    <a:pt x="967" y="2590"/>
                  </a:lnTo>
                  <a:lnTo>
                    <a:pt x="1043" y="2594"/>
                  </a:lnTo>
                  <a:lnTo>
                    <a:pt x="1121" y="2598"/>
                  </a:lnTo>
                  <a:lnTo>
                    <a:pt x="1198" y="2600"/>
                  </a:lnTo>
                  <a:lnTo>
                    <a:pt x="1276" y="2600"/>
                  </a:lnTo>
                  <a:lnTo>
                    <a:pt x="1352" y="2600"/>
                  </a:lnTo>
                  <a:lnTo>
                    <a:pt x="1431" y="2596"/>
                  </a:lnTo>
                  <a:lnTo>
                    <a:pt x="1509" y="2592"/>
                  </a:lnTo>
                  <a:lnTo>
                    <a:pt x="1585" y="2585"/>
                  </a:lnTo>
                  <a:lnTo>
                    <a:pt x="1663" y="2577"/>
                  </a:lnTo>
                  <a:lnTo>
                    <a:pt x="1742" y="2569"/>
                  </a:lnTo>
                  <a:lnTo>
                    <a:pt x="1820" y="2558"/>
                  </a:lnTo>
                  <a:lnTo>
                    <a:pt x="1898" y="2545"/>
                  </a:lnTo>
                  <a:lnTo>
                    <a:pt x="1975" y="2531"/>
                  </a:lnTo>
                  <a:lnTo>
                    <a:pt x="2053" y="2516"/>
                  </a:lnTo>
                  <a:lnTo>
                    <a:pt x="2131" y="2499"/>
                  </a:lnTo>
                  <a:lnTo>
                    <a:pt x="2208" y="2480"/>
                  </a:lnTo>
                  <a:lnTo>
                    <a:pt x="2286" y="2461"/>
                  </a:lnTo>
                  <a:lnTo>
                    <a:pt x="2362" y="2438"/>
                  </a:lnTo>
                  <a:lnTo>
                    <a:pt x="2439" y="2415"/>
                  </a:lnTo>
                  <a:lnTo>
                    <a:pt x="2515" y="2390"/>
                  </a:lnTo>
                  <a:lnTo>
                    <a:pt x="2592" y="2363"/>
                  </a:lnTo>
                  <a:lnTo>
                    <a:pt x="2668" y="2335"/>
                  </a:lnTo>
                  <a:lnTo>
                    <a:pt x="2742" y="2304"/>
                  </a:lnTo>
                  <a:lnTo>
                    <a:pt x="2817" y="2273"/>
                  </a:lnTo>
                  <a:lnTo>
                    <a:pt x="2893" y="2241"/>
                  </a:lnTo>
                  <a:lnTo>
                    <a:pt x="2966" y="2207"/>
                  </a:lnTo>
                  <a:lnTo>
                    <a:pt x="3040" y="2170"/>
                  </a:lnTo>
                  <a:lnTo>
                    <a:pt x="3113" y="2132"/>
                  </a:lnTo>
                  <a:lnTo>
                    <a:pt x="3187" y="2092"/>
                  </a:lnTo>
                  <a:lnTo>
                    <a:pt x="3258" y="2052"/>
                  </a:lnTo>
                  <a:lnTo>
                    <a:pt x="3330" y="2010"/>
                  </a:lnTo>
                  <a:lnTo>
                    <a:pt x="3401" y="1966"/>
                  </a:lnTo>
                  <a:lnTo>
                    <a:pt x="3472" y="1920"/>
                  </a:lnTo>
                  <a:lnTo>
                    <a:pt x="3541" y="1872"/>
                  </a:lnTo>
                  <a:lnTo>
                    <a:pt x="3611" y="1823"/>
                  </a:lnTo>
                  <a:lnTo>
                    <a:pt x="3678" y="1773"/>
                  </a:lnTo>
                  <a:lnTo>
                    <a:pt x="3747" y="1721"/>
                  </a:lnTo>
                  <a:lnTo>
                    <a:pt x="3814" y="1668"/>
                  </a:lnTo>
                  <a:lnTo>
                    <a:pt x="3879" y="1613"/>
                  </a:lnTo>
                  <a:lnTo>
                    <a:pt x="3943" y="1555"/>
                  </a:lnTo>
                  <a:lnTo>
                    <a:pt x="4008" y="1498"/>
                  </a:lnTo>
                  <a:lnTo>
                    <a:pt x="4071" y="1437"/>
                  </a:lnTo>
                  <a:lnTo>
                    <a:pt x="4134" y="1376"/>
                  </a:lnTo>
                  <a:lnTo>
                    <a:pt x="4195" y="1313"/>
                  </a:lnTo>
                  <a:lnTo>
                    <a:pt x="4257" y="1248"/>
                  </a:lnTo>
                  <a:lnTo>
                    <a:pt x="4316" y="1183"/>
                  </a:lnTo>
                  <a:lnTo>
                    <a:pt x="4375" y="1114"/>
                  </a:lnTo>
                  <a:lnTo>
                    <a:pt x="4432" y="1045"/>
                  </a:lnTo>
                  <a:lnTo>
                    <a:pt x="4488" y="975"/>
                  </a:lnTo>
                  <a:lnTo>
                    <a:pt x="4543" y="902"/>
                  </a:lnTo>
                  <a:lnTo>
                    <a:pt x="4598" y="827"/>
                  </a:lnTo>
                  <a:lnTo>
                    <a:pt x="4598" y="827"/>
                  </a:lnTo>
                  <a:lnTo>
                    <a:pt x="4449" y="698"/>
                  </a:lnTo>
                  <a:lnTo>
                    <a:pt x="4301" y="573"/>
                  </a:lnTo>
                  <a:lnTo>
                    <a:pt x="4301" y="573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2223245" y="2943445"/>
            <a:ext cx="889000" cy="889000"/>
            <a:chOff x="1905000" y="3585029"/>
            <a:chExt cx="889000" cy="889000"/>
          </a:xfrm>
        </p:grpSpPr>
        <p:sp>
          <p:nvSpPr>
            <p:cNvPr id="95" name="Oval 94"/>
            <p:cNvSpPr/>
            <p:nvPr/>
          </p:nvSpPr>
          <p:spPr>
            <a:xfrm>
              <a:off x="1905000" y="3585029"/>
              <a:ext cx="889000" cy="889000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2130152" y="3793811"/>
              <a:ext cx="584200" cy="471435"/>
              <a:chOff x="-866775" y="857250"/>
              <a:chExt cx="2549525" cy="2057400"/>
            </a:xfrm>
            <a:solidFill>
              <a:schemeClr val="bg1"/>
            </a:solidFill>
          </p:grpSpPr>
          <p:sp>
            <p:nvSpPr>
              <p:cNvPr id="97" name="Freeform 13"/>
              <p:cNvSpPr>
                <a:spLocks/>
              </p:cNvSpPr>
              <p:nvPr/>
            </p:nvSpPr>
            <p:spPr bwMode="auto">
              <a:xfrm>
                <a:off x="146050" y="876300"/>
                <a:ext cx="1536700" cy="1012825"/>
              </a:xfrm>
              <a:custGeom>
                <a:avLst/>
                <a:gdLst>
                  <a:gd name="T0" fmla="*/ 870 w 968"/>
                  <a:gd name="T1" fmla="*/ 0 h 638"/>
                  <a:gd name="T2" fmla="*/ 824 w 968"/>
                  <a:gd name="T3" fmla="*/ 162 h 638"/>
                  <a:gd name="T4" fmla="*/ 968 w 968"/>
                  <a:gd name="T5" fmla="*/ 180 h 638"/>
                  <a:gd name="T6" fmla="*/ 744 w 968"/>
                  <a:gd name="T7" fmla="*/ 314 h 638"/>
                  <a:gd name="T8" fmla="*/ 622 w 968"/>
                  <a:gd name="T9" fmla="*/ 288 h 638"/>
                  <a:gd name="T10" fmla="*/ 22 w 968"/>
                  <a:gd name="T11" fmla="*/ 638 h 638"/>
                  <a:gd name="T12" fmla="*/ 0 w 968"/>
                  <a:gd name="T13" fmla="*/ 604 h 638"/>
                  <a:gd name="T14" fmla="*/ 608 w 968"/>
                  <a:gd name="T15" fmla="*/ 236 h 638"/>
                  <a:gd name="T16" fmla="*/ 628 w 968"/>
                  <a:gd name="T17" fmla="*/ 130 h 638"/>
                  <a:gd name="T18" fmla="*/ 870 w 968"/>
                  <a:gd name="T19" fmla="*/ 0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8" h="638">
                    <a:moveTo>
                      <a:pt x="870" y="0"/>
                    </a:moveTo>
                    <a:lnTo>
                      <a:pt x="824" y="162"/>
                    </a:lnTo>
                    <a:lnTo>
                      <a:pt x="968" y="180"/>
                    </a:lnTo>
                    <a:lnTo>
                      <a:pt x="744" y="314"/>
                    </a:lnTo>
                    <a:lnTo>
                      <a:pt x="622" y="288"/>
                    </a:lnTo>
                    <a:lnTo>
                      <a:pt x="22" y="638"/>
                    </a:lnTo>
                    <a:lnTo>
                      <a:pt x="0" y="604"/>
                    </a:lnTo>
                    <a:lnTo>
                      <a:pt x="608" y="236"/>
                    </a:lnTo>
                    <a:lnTo>
                      <a:pt x="628" y="130"/>
                    </a:lnTo>
                    <a:lnTo>
                      <a:pt x="87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4"/>
              <p:cNvSpPr>
                <a:spLocks/>
              </p:cNvSpPr>
              <p:nvPr/>
            </p:nvSpPr>
            <p:spPr bwMode="auto">
              <a:xfrm>
                <a:off x="-57150" y="1663700"/>
                <a:ext cx="441325" cy="441325"/>
              </a:xfrm>
              <a:custGeom>
                <a:avLst/>
                <a:gdLst>
                  <a:gd name="T0" fmla="*/ 152 w 278"/>
                  <a:gd name="T1" fmla="*/ 140 h 278"/>
                  <a:gd name="T2" fmla="*/ 262 w 278"/>
                  <a:gd name="T3" fmla="*/ 74 h 278"/>
                  <a:gd name="T4" fmla="*/ 240 w 278"/>
                  <a:gd name="T5" fmla="*/ 44 h 278"/>
                  <a:gd name="T6" fmla="*/ 210 w 278"/>
                  <a:gd name="T7" fmla="*/ 20 h 278"/>
                  <a:gd name="T8" fmla="*/ 176 w 278"/>
                  <a:gd name="T9" fmla="*/ 6 h 278"/>
                  <a:gd name="T10" fmla="*/ 138 w 278"/>
                  <a:gd name="T11" fmla="*/ 0 h 278"/>
                  <a:gd name="T12" fmla="*/ 124 w 278"/>
                  <a:gd name="T13" fmla="*/ 2 h 278"/>
                  <a:gd name="T14" fmla="*/ 98 w 278"/>
                  <a:gd name="T15" fmla="*/ 6 h 278"/>
                  <a:gd name="T16" fmla="*/ 72 w 278"/>
                  <a:gd name="T17" fmla="*/ 18 h 278"/>
                  <a:gd name="T18" fmla="*/ 50 w 278"/>
                  <a:gd name="T19" fmla="*/ 32 h 278"/>
                  <a:gd name="T20" fmla="*/ 32 w 278"/>
                  <a:gd name="T21" fmla="*/ 52 h 278"/>
                  <a:gd name="T22" fmla="*/ 16 w 278"/>
                  <a:gd name="T23" fmla="*/ 74 h 278"/>
                  <a:gd name="T24" fmla="*/ 6 w 278"/>
                  <a:gd name="T25" fmla="*/ 98 h 278"/>
                  <a:gd name="T26" fmla="*/ 0 w 278"/>
                  <a:gd name="T27" fmla="*/ 126 h 278"/>
                  <a:gd name="T28" fmla="*/ 0 w 278"/>
                  <a:gd name="T29" fmla="*/ 140 h 278"/>
                  <a:gd name="T30" fmla="*/ 2 w 278"/>
                  <a:gd name="T31" fmla="*/ 168 h 278"/>
                  <a:gd name="T32" fmla="*/ 10 w 278"/>
                  <a:gd name="T33" fmla="*/ 194 h 278"/>
                  <a:gd name="T34" fmla="*/ 24 w 278"/>
                  <a:gd name="T35" fmla="*/ 218 h 278"/>
                  <a:gd name="T36" fmla="*/ 40 w 278"/>
                  <a:gd name="T37" fmla="*/ 238 h 278"/>
                  <a:gd name="T38" fmla="*/ 62 w 278"/>
                  <a:gd name="T39" fmla="*/ 254 h 278"/>
                  <a:gd name="T40" fmla="*/ 84 w 278"/>
                  <a:gd name="T41" fmla="*/ 268 h 278"/>
                  <a:gd name="T42" fmla="*/ 110 w 278"/>
                  <a:gd name="T43" fmla="*/ 276 h 278"/>
                  <a:gd name="T44" fmla="*/ 138 w 278"/>
                  <a:gd name="T45" fmla="*/ 278 h 278"/>
                  <a:gd name="T46" fmla="*/ 152 w 278"/>
                  <a:gd name="T47" fmla="*/ 278 h 278"/>
                  <a:gd name="T48" fmla="*/ 180 w 278"/>
                  <a:gd name="T49" fmla="*/ 272 h 278"/>
                  <a:gd name="T50" fmla="*/ 206 w 278"/>
                  <a:gd name="T51" fmla="*/ 262 h 278"/>
                  <a:gd name="T52" fmla="*/ 228 w 278"/>
                  <a:gd name="T53" fmla="*/ 246 h 278"/>
                  <a:gd name="T54" fmla="*/ 246 w 278"/>
                  <a:gd name="T55" fmla="*/ 228 h 278"/>
                  <a:gd name="T56" fmla="*/ 260 w 278"/>
                  <a:gd name="T57" fmla="*/ 206 h 278"/>
                  <a:gd name="T58" fmla="*/ 272 w 278"/>
                  <a:gd name="T59" fmla="*/ 182 h 278"/>
                  <a:gd name="T60" fmla="*/ 278 w 278"/>
                  <a:gd name="T61" fmla="*/ 154 h 278"/>
                  <a:gd name="T62" fmla="*/ 278 w 278"/>
                  <a:gd name="T63" fmla="*/ 140 h 278"/>
                  <a:gd name="T64" fmla="*/ 174 w 278"/>
                  <a:gd name="T65" fmla="*/ 174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8" h="278">
                    <a:moveTo>
                      <a:pt x="174" y="174"/>
                    </a:moveTo>
                    <a:lnTo>
                      <a:pt x="152" y="140"/>
                    </a:lnTo>
                    <a:lnTo>
                      <a:pt x="262" y="74"/>
                    </a:lnTo>
                    <a:lnTo>
                      <a:pt x="262" y="74"/>
                    </a:lnTo>
                    <a:lnTo>
                      <a:pt x="252" y="58"/>
                    </a:lnTo>
                    <a:lnTo>
                      <a:pt x="240" y="44"/>
                    </a:lnTo>
                    <a:lnTo>
                      <a:pt x="226" y="32"/>
                    </a:lnTo>
                    <a:lnTo>
                      <a:pt x="210" y="20"/>
                    </a:lnTo>
                    <a:lnTo>
                      <a:pt x="194" y="12"/>
                    </a:lnTo>
                    <a:lnTo>
                      <a:pt x="176" y="6"/>
                    </a:lnTo>
                    <a:lnTo>
                      <a:pt x="158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24" y="2"/>
                    </a:lnTo>
                    <a:lnTo>
                      <a:pt x="110" y="4"/>
                    </a:lnTo>
                    <a:lnTo>
                      <a:pt x="98" y="6"/>
                    </a:lnTo>
                    <a:lnTo>
                      <a:pt x="84" y="12"/>
                    </a:lnTo>
                    <a:lnTo>
                      <a:pt x="72" y="18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0" y="42"/>
                    </a:lnTo>
                    <a:lnTo>
                      <a:pt x="32" y="52"/>
                    </a:lnTo>
                    <a:lnTo>
                      <a:pt x="24" y="62"/>
                    </a:lnTo>
                    <a:lnTo>
                      <a:pt x="16" y="74"/>
                    </a:lnTo>
                    <a:lnTo>
                      <a:pt x="10" y="86"/>
                    </a:lnTo>
                    <a:lnTo>
                      <a:pt x="6" y="98"/>
                    </a:lnTo>
                    <a:lnTo>
                      <a:pt x="2" y="112"/>
                    </a:lnTo>
                    <a:lnTo>
                      <a:pt x="0" y="126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54"/>
                    </a:lnTo>
                    <a:lnTo>
                      <a:pt x="2" y="168"/>
                    </a:lnTo>
                    <a:lnTo>
                      <a:pt x="6" y="182"/>
                    </a:lnTo>
                    <a:lnTo>
                      <a:pt x="10" y="194"/>
                    </a:lnTo>
                    <a:lnTo>
                      <a:pt x="16" y="206"/>
                    </a:lnTo>
                    <a:lnTo>
                      <a:pt x="24" y="218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0" y="246"/>
                    </a:lnTo>
                    <a:lnTo>
                      <a:pt x="62" y="254"/>
                    </a:lnTo>
                    <a:lnTo>
                      <a:pt x="72" y="262"/>
                    </a:lnTo>
                    <a:lnTo>
                      <a:pt x="84" y="268"/>
                    </a:lnTo>
                    <a:lnTo>
                      <a:pt x="98" y="272"/>
                    </a:lnTo>
                    <a:lnTo>
                      <a:pt x="110" y="276"/>
                    </a:lnTo>
                    <a:lnTo>
                      <a:pt x="124" y="278"/>
                    </a:lnTo>
                    <a:lnTo>
                      <a:pt x="138" y="278"/>
                    </a:lnTo>
                    <a:lnTo>
                      <a:pt x="138" y="278"/>
                    </a:lnTo>
                    <a:lnTo>
                      <a:pt x="152" y="278"/>
                    </a:lnTo>
                    <a:lnTo>
                      <a:pt x="166" y="276"/>
                    </a:lnTo>
                    <a:lnTo>
                      <a:pt x="180" y="272"/>
                    </a:lnTo>
                    <a:lnTo>
                      <a:pt x="192" y="268"/>
                    </a:lnTo>
                    <a:lnTo>
                      <a:pt x="206" y="262"/>
                    </a:lnTo>
                    <a:lnTo>
                      <a:pt x="216" y="254"/>
                    </a:lnTo>
                    <a:lnTo>
                      <a:pt x="228" y="246"/>
                    </a:lnTo>
                    <a:lnTo>
                      <a:pt x="238" y="238"/>
                    </a:lnTo>
                    <a:lnTo>
                      <a:pt x="246" y="228"/>
                    </a:lnTo>
                    <a:lnTo>
                      <a:pt x="254" y="218"/>
                    </a:lnTo>
                    <a:lnTo>
                      <a:pt x="260" y="206"/>
                    </a:lnTo>
                    <a:lnTo>
                      <a:pt x="266" y="194"/>
                    </a:lnTo>
                    <a:lnTo>
                      <a:pt x="272" y="182"/>
                    </a:lnTo>
                    <a:lnTo>
                      <a:pt x="274" y="168"/>
                    </a:lnTo>
                    <a:lnTo>
                      <a:pt x="278" y="154"/>
                    </a:lnTo>
                    <a:lnTo>
                      <a:pt x="278" y="140"/>
                    </a:lnTo>
                    <a:lnTo>
                      <a:pt x="278" y="140"/>
                    </a:lnTo>
                    <a:lnTo>
                      <a:pt x="276" y="114"/>
                    </a:lnTo>
                    <a:lnTo>
                      <a:pt x="174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5"/>
              <p:cNvSpPr>
                <a:spLocks/>
              </p:cNvSpPr>
              <p:nvPr/>
            </p:nvSpPr>
            <p:spPr bwMode="auto">
              <a:xfrm>
                <a:off x="-549275" y="1174750"/>
                <a:ext cx="1425575" cy="1422400"/>
              </a:xfrm>
              <a:custGeom>
                <a:avLst/>
                <a:gdLst>
                  <a:gd name="T0" fmla="*/ 714 w 898"/>
                  <a:gd name="T1" fmla="*/ 374 h 896"/>
                  <a:gd name="T2" fmla="*/ 724 w 898"/>
                  <a:gd name="T3" fmla="*/ 448 h 896"/>
                  <a:gd name="T4" fmla="*/ 720 w 898"/>
                  <a:gd name="T5" fmla="*/ 504 h 896"/>
                  <a:gd name="T6" fmla="*/ 692 w 898"/>
                  <a:gd name="T7" fmla="*/ 580 h 896"/>
                  <a:gd name="T8" fmla="*/ 644 w 898"/>
                  <a:gd name="T9" fmla="*/ 642 h 896"/>
                  <a:gd name="T10" fmla="*/ 580 w 898"/>
                  <a:gd name="T11" fmla="*/ 690 h 896"/>
                  <a:gd name="T12" fmla="*/ 504 w 898"/>
                  <a:gd name="T13" fmla="*/ 718 h 896"/>
                  <a:gd name="T14" fmla="*/ 448 w 898"/>
                  <a:gd name="T15" fmla="*/ 724 h 896"/>
                  <a:gd name="T16" fmla="*/ 366 w 898"/>
                  <a:gd name="T17" fmla="*/ 712 h 896"/>
                  <a:gd name="T18" fmla="*/ 294 w 898"/>
                  <a:gd name="T19" fmla="*/ 676 h 896"/>
                  <a:gd name="T20" fmla="*/ 236 w 898"/>
                  <a:gd name="T21" fmla="*/ 624 h 896"/>
                  <a:gd name="T22" fmla="*/ 194 w 898"/>
                  <a:gd name="T23" fmla="*/ 556 h 896"/>
                  <a:gd name="T24" fmla="*/ 174 w 898"/>
                  <a:gd name="T25" fmla="*/ 476 h 896"/>
                  <a:gd name="T26" fmla="*/ 174 w 898"/>
                  <a:gd name="T27" fmla="*/ 420 h 896"/>
                  <a:gd name="T28" fmla="*/ 194 w 898"/>
                  <a:gd name="T29" fmla="*/ 340 h 896"/>
                  <a:gd name="T30" fmla="*/ 236 w 898"/>
                  <a:gd name="T31" fmla="*/ 272 h 896"/>
                  <a:gd name="T32" fmla="*/ 294 w 898"/>
                  <a:gd name="T33" fmla="*/ 218 h 896"/>
                  <a:gd name="T34" fmla="*/ 366 w 898"/>
                  <a:gd name="T35" fmla="*/ 184 h 896"/>
                  <a:gd name="T36" fmla="*/ 448 w 898"/>
                  <a:gd name="T37" fmla="*/ 172 h 896"/>
                  <a:gd name="T38" fmla="*/ 486 w 898"/>
                  <a:gd name="T39" fmla="*/ 174 h 896"/>
                  <a:gd name="T40" fmla="*/ 540 w 898"/>
                  <a:gd name="T41" fmla="*/ 188 h 896"/>
                  <a:gd name="T42" fmla="*/ 618 w 898"/>
                  <a:gd name="T43" fmla="*/ 230 h 896"/>
                  <a:gd name="T44" fmla="*/ 688 w 898"/>
                  <a:gd name="T45" fmla="*/ 310 h 896"/>
                  <a:gd name="T46" fmla="*/ 820 w 898"/>
                  <a:gd name="T47" fmla="*/ 198 h 896"/>
                  <a:gd name="T48" fmla="*/ 766 w 898"/>
                  <a:gd name="T49" fmla="*/ 130 h 896"/>
                  <a:gd name="T50" fmla="*/ 700 w 898"/>
                  <a:gd name="T51" fmla="*/ 76 h 896"/>
                  <a:gd name="T52" fmla="*/ 624 w 898"/>
                  <a:gd name="T53" fmla="*/ 34 h 896"/>
                  <a:gd name="T54" fmla="*/ 540 w 898"/>
                  <a:gd name="T55" fmla="*/ 8 h 896"/>
                  <a:gd name="T56" fmla="*/ 448 w 898"/>
                  <a:gd name="T57" fmla="*/ 0 h 896"/>
                  <a:gd name="T58" fmla="*/ 358 w 898"/>
                  <a:gd name="T59" fmla="*/ 8 h 896"/>
                  <a:gd name="T60" fmla="*/ 236 w 898"/>
                  <a:gd name="T61" fmla="*/ 54 h 896"/>
                  <a:gd name="T62" fmla="*/ 132 w 898"/>
                  <a:gd name="T63" fmla="*/ 130 h 896"/>
                  <a:gd name="T64" fmla="*/ 54 w 898"/>
                  <a:gd name="T65" fmla="*/ 234 h 896"/>
                  <a:gd name="T66" fmla="*/ 10 w 898"/>
                  <a:gd name="T67" fmla="*/ 358 h 896"/>
                  <a:gd name="T68" fmla="*/ 0 w 898"/>
                  <a:gd name="T69" fmla="*/ 448 h 896"/>
                  <a:gd name="T70" fmla="*/ 20 w 898"/>
                  <a:gd name="T71" fmla="*/ 582 h 896"/>
                  <a:gd name="T72" fmla="*/ 78 w 898"/>
                  <a:gd name="T73" fmla="*/ 698 h 896"/>
                  <a:gd name="T74" fmla="*/ 164 w 898"/>
                  <a:gd name="T75" fmla="*/ 794 h 896"/>
                  <a:gd name="T76" fmla="*/ 274 w 898"/>
                  <a:gd name="T77" fmla="*/ 860 h 896"/>
                  <a:gd name="T78" fmla="*/ 402 w 898"/>
                  <a:gd name="T79" fmla="*/ 894 h 896"/>
                  <a:gd name="T80" fmla="*/ 494 w 898"/>
                  <a:gd name="T81" fmla="*/ 894 h 896"/>
                  <a:gd name="T82" fmla="*/ 624 w 898"/>
                  <a:gd name="T83" fmla="*/ 860 h 896"/>
                  <a:gd name="T84" fmla="*/ 734 w 898"/>
                  <a:gd name="T85" fmla="*/ 794 h 896"/>
                  <a:gd name="T86" fmla="*/ 820 w 898"/>
                  <a:gd name="T87" fmla="*/ 698 h 896"/>
                  <a:gd name="T88" fmla="*/ 876 w 898"/>
                  <a:gd name="T89" fmla="*/ 582 h 896"/>
                  <a:gd name="T90" fmla="*/ 898 w 898"/>
                  <a:gd name="T91" fmla="*/ 448 h 896"/>
                  <a:gd name="T92" fmla="*/ 894 w 898"/>
                  <a:gd name="T93" fmla="*/ 400 h 896"/>
                  <a:gd name="T94" fmla="*/ 882 w 898"/>
                  <a:gd name="T95" fmla="*/ 330 h 896"/>
                  <a:gd name="T96" fmla="*/ 858 w 898"/>
                  <a:gd name="T97" fmla="*/ 264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98" h="896">
                    <a:moveTo>
                      <a:pt x="708" y="352"/>
                    </a:moveTo>
                    <a:lnTo>
                      <a:pt x="708" y="352"/>
                    </a:lnTo>
                    <a:lnTo>
                      <a:pt x="714" y="374"/>
                    </a:lnTo>
                    <a:lnTo>
                      <a:pt x="720" y="398"/>
                    </a:lnTo>
                    <a:lnTo>
                      <a:pt x="724" y="422"/>
                    </a:lnTo>
                    <a:lnTo>
                      <a:pt x="724" y="448"/>
                    </a:lnTo>
                    <a:lnTo>
                      <a:pt x="724" y="448"/>
                    </a:lnTo>
                    <a:lnTo>
                      <a:pt x="724" y="476"/>
                    </a:lnTo>
                    <a:lnTo>
                      <a:pt x="720" y="504"/>
                    </a:lnTo>
                    <a:lnTo>
                      <a:pt x="712" y="530"/>
                    </a:lnTo>
                    <a:lnTo>
                      <a:pt x="704" y="556"/>
                    </a:lnTo>
                    <a:lnTo>
                      <a:pt x="692" y="580"/>
                    </a:lnTo>
                    <a:lnTo>
                      <a:pt x="678" y="602"/>
                    </a:lnTo>
                    <a:lnTo>
                      <a:pt x="662" y="624"/>
                    </a:lnTo>
                    <a:lnTo>
                      <a:pt x="644" y="642"/>
                    </a:lnTo>
                    <a:lnTo>
                      <a:pt x="624" y="660"/>
                    </a:lnTo>
                    <a:lnTo>
                      <a:pt x="604" y="676"/>
                    </a:lnTo>
                    <a:lnTo>
                      <a:pt x="580" y="690"/>
                    </a:lnTo>
                    <a:lnTo>
                      <a:pt x="556" y="702"/>
                    </a:lnTo>
                    <a:lnTo>
                      <a:pt x="530" y="712"/>
                    </a:lnTo>
                    <a:lnTo>
                      <a:pt x="504" y="718"/>
                    </a:lnTo>
                    <a:lnTo>
                      <a:pt x="476" y="722"/>
                    </a:lnTo>
                    <a:lnTo>
                      <a:pt x="448" y="724"/>
                    </a:lnTo>
                    <a:lnTo>
                      <a:pt x="448" y="724"/>
                    </a:lnTo>
                    <a:lnTo>
                      <a:pt x="420" y="722"/>
                    </a:lnTo>
                    <a:lnTo>
                      <a:pt x="394" y="718"/>
                    </a:lnTo>
                    <a:lnTo>
                      <a:pt x="366" y="712"/>
                    </a:lnTo>
                    <a:lnTo>
                      <a:pt x="342" y="702"/>
                    </a:lnTo>
                    <a:lnTo>
                      <a:pt x="318" y="690"/>
                    </a:lnTo>
                    <a:lnTo>
                      <a:pt x="294" y="676"/>
                    </a:lnTo>
                    <a:lnTo>
                      <a:pt x="274" y="660"/>
                    </a:lnTo>
                    <a:lnTo>
                      <a:pt x="254" y="642"/>
                    </a:lnTo>
                    <a:lnTo>
                      <a:pt x="236" y="624"/>
                    </a:lnTo>
                    <a:lnTo>
                      <a:pt x="220" y="602"/>
                    </a:lnTo>
                    <a:lnTo>
                      <a:pt x="206" y="580"/>
                    </a:lnTo>
                    <a:lnTo>
                      <a:pt x="194" y="556"/>
                    </a:lnTo>
                    <a:lnTo>
                      <a:pt x="186" y="530"/>
                    </a:lnTo>
                    <a:lnTo>
                      <a:pt x="178" y="504"/>
                    </a:lnTo>
                    <a:lnTo>
                      <a:pt x="174" y="476"/>
                    </a:lnTo>
                    <a:lnTo>
                      <a:pt x="172" y="448"/>
                    </a:lnTo>
                    <a:lnTo>
                      <a:pt x="172" y="448"/>
                    </a:lnTo>
                    <a:lnTo>
                      <a:pt x="174" y="420"/>
                    </a:lnTo>
                    <a:lnTo>
                      <a:pt x="178" y="392"/>
                    </a:lnTo>
                    <a:lnTo>
                      <a:pt x="186" y="366"/>
                    </a:lnTo>
                    <a:lnTo>
                      <a:pt x="194" y="340"/>
                    </a:lnTo>
                    <a:lnTo>
                      <a:pt x="206" y="316"/>
                    </a:lnTo>
                    <a:lnTo>
                      <a:pt x="220" y="294"/>
                    </a:lnTo>
                    <a:lnTo>
                      <a:pt x="236" y="272"/>
                    </a:lnTo>
                    <a:lnTo>
                      <a:pt x="254" y="252"/>
                    </a:lnTo>
                    <a:lnTo>
                      <a:pt x="274" y="234"/>
                    </a:lnTo>
                    <a:lnTo>
                      <a:pt x="294" y="218"/>
                    </a:lnTo>
                    <a:lnTo>
                      <a:pt x="318" y="206"/>
                    </a:lnTo>
                    <a:lnTo>
                      <a:pt x="342" y="194"/>
                    </a:lnTo>
                    <a:lnTo>
                      <a:pt x="366" y="184"/>
                    </a:lnTo>
                    <a:lnTo>
                      <a:pt x="394" y="178"/>
                    </a:lnTo>
                    <a:lnTo>
                      <a:pt x="420" y="174"/>
                    </a:lnTo>
                    <a:lnTo>
                      <a:pt x="448" y="172"/>
                    </a:lnTo>
                    <a:lnTo>
                      <a:pt x="448" y="172"/>
                    </a:lnTo>
                    <a:lnTo>
                      <a:pt x="468" y="172"/>
                    </a:lnTo>
                    <a:lnTo>
                      <a:pt x="486" y="174"/>
                    </a:lnTo>
                    <a:lnTo>
                      <a:pt x="504" y="178"/>
                    </a:lnTo>
                    <a:lnTo>
                      <a:pt x="522" y="182"/>
                    </a:lnTo>
                    <a:lnTo>
                      <a:pt x="540" y="188"/>
                    </a:lnTo>
                    <a:lnTo>
                      <a:pt x="558" y="194"/>
                    </a:lnTo>
                    <a:lnTo>
                      <a:pt x="590" y="210"/>
                    </a:lnTo>
                    <a:lnTo>
                      <a:pt x="618" y="230"/>
                    </a:lnTo>
                    <a:lnTo>
                      <a:pt x="646" y="254"/>
                    </a:lnTo>
                    <a:lnTo>
                      <a:pt x="668" y="280"/>
                    </a:lnTo>
                    <a:lnTo>
                      <a:pt x="688" y="310"/>
                    </a:lnTo>
                    <a:lnTo>
                      <a:pt x="836" y="222"/>
                    </a:lnTo>
                    <a:lnTo>
                      <a:pt x="836" y="222"/>
                    </a:lnTo>
                    <a:lnTo>
                      <a:pt x="820" y="198"/>
                    </a:lnTo>
                    <a:lnTo>
                      <a:pt x="804" y="174"/>
                    </a:lnTo>
                    <a:lnTo>
                      <a:pt x="786" y="152"/>
                    </a:lnTo>
                    <a:lnTo>
                      <a:pt x="766" y="130"/>
                    </a:lnTo>
                    <a:lnTo>
                      <a:pt x="744" y="112"/>
                    </a:lnTo>
                    <a:lnTo>
                      <a:pt x="722" y="92"/>
                    </a:lnTo>
                    <a:lnTo>
                      <a:pt x="700" y="76"/>
                    </a:lnTo>
                    <a:lnTo>
                      <a:pt x="674" y="60"/>
                    </a:lnTo>
                    <a:lnTo>
                      <a:pt x="650" y="46"/>
                    </a:lnTo>
                    <a:lnTo>
                      <a:pt x="624" y="34"/>
                    </a:lnTo>
                    <a:lnTo>
                      <a:pt x="596" y="24"/>
                    </a:lnTo>
                    <a:lnTo>
                      <a:pt x="568" y="16"/>
                    </a:lnTo>
                    <a:lnTo>
                      <a:pt x="540" y="8"/>
                    </a:lnTo>
                    <a:lnTo>
                      <a:pt x="510" y="4"/>
                    </a:lnTo>
                    <a:lnTo>
                      <a:pt x="480" y="0"/>
                    </a:lnTo>
                    <a:lnTo>
                      <a:pt x="448" y="0"/>
                    </a:lnTo>
                    <a:lnTo>
                      <a:pt x="448" y="0"/>
                    </a:lnTo>
                    <a:lnTo>
                      <a:pt x="402" y="2"/>
                    </a:lnTo>
                    <a:lnTo>
                      <a:pt x="358" y="8"/>
                    </a:lnTo>
                    <a:lnTo>
                      <a:pt x="316" y="20"/>
                    </a:lnTo>
                    <a:lnTo>
                      <a:pt x="274" y="34"/>
                    </a:lnTo>
                    <a:lnTo>
                      <a:pt x="236" y="54"/>
                    </a:lnTo>
                    <a:lnTo>
                      <a:pt x="198" y="76"/>
                    </a:lnTo>
                    <a:lnTo>
                      <a:pt x="164" y="102"/>
                    </a:lnTo>
                    <a:lnTo>
                      <a:pt x="132" y="130"/>
                    </a:lnTo>
                    <a:lnTo>
                      <a:pt x="102" y="162"/>
                    </a:lnTo>
                    <a:lnTo>
                      <a:pt x="78" y="198"/>
                    </a:lnTo>
                    <a:lnTo>
                      <a:pt x="54" y="234"/>
                    </a:lnTo>
                    <a:lnTo>
                      <a:pt x="36" y="274"/>
                    </a:lnTo>
                    <a:lnTo>
                      <a:pt x="20" y="314"/>
                    </a:lnTo>
                    <a:lnTo>
                      <a:pt x="10" y="358"/>
                    </a:lnTo>
                    <a:lnTo>
                      <a:pt x="2" y="402"/>
                    </a:lnTo>
                    <a:lnTo>
                      <a:pt x="0" y="448"/>
                    </a:lnTo>
                    <a:lnTo>
                      <a:pt x="0" y="448"/>
                    </a:lnTo>
                    <a:lnTo>
                      <a:pt x="2" y="494"/>
                    </a:lnTo>
                    <a:lnTo>
                      <a:pt x="10" y="538"/>
                    </a:lnTo>
                    <a:lnTo>
                      <a:pt x="20" y="582"/>
                    </a:lnTo>
                    <a:lnTo>
                      <a:pt x="36" y="622"/>
                    </a:lnTo>
                    <a:lnTo>
                      <a:pt x="54" y="662"/>
                    </a:lnTo>
                    <a:lnTo>
                      <a:pt x="78" y="698"/>
                    </a:lnTo>
                    <a:lnTo>
                      <a:pt x="102" y="732"/>
                    </a:lnTo>
                    <a:lnTo>
                      <a:pt x="132" y="764"/>
                    </a:lnTo>
                    <a:lnTo>
                      <a:pt x="164" y="794"/>
                    </a:lnTo>
                    <a:lnTo>
                      <a:pt x="198" y="820"/>
                    </a:lnTo>
                    <a:lnTo>
                      <a:pt x="236" y="842"/>
                    </a:lnTo>
                    <a:lnTo>
                      <a:pt x="274" y="860"/>
                    </a:lnTo>
                    <a:lnTo>
                      <a:pt x="316" y="876"/>
                    </a:lnTo>
                    <a:lnTo>
                      <a:pt x="358" y="886"/>
                    </a:lnTo>
                    <a:lnTo>
                      <a:pt x="402" y="894"/>
                    </a:lnTo>
                    <a:lnTo>
                      <a:pt x="448" y="896"/>
                    </a:lnTo>
                    <a:lnTo>
                      <a:pt x="448" y="896"/>
                    </a:lnTo>
                    <a:lnTo>
                      <a:pt x="494" y="894"/>
                    </a:lnTo>
                    <a:lnTo>
                      <a:pt x="540" y="886"/>
                    </a:lnTo>
                    <a:lnTo>
                      <a:pt x="582" y="876"/>
                    </a:lnTo>
                    <a:lnTo>
                      <a:pt x="624" y="860"/>
                    </a:lnTo>
                    <a:lnTo>
                      <a:pt x="662" y="842"/>
                    </a:lnTo>
                    <a:lnTo>
                      <a:pt x="700" y="820"/>
                    </a:lnTo>
                    <a:lnTo>
                      <a:pt x="734" y="794"/>
                    </a:lnTo>
                    <a:lnTo>
                      <a:pt x="766" y="764"/>
                    </a:lnTo>
                    <a:lnTo>
                      <a:pt x="794" y="732"/>
                    </a:lnTo>
                    <a:lnTo>
                      <a:pt x="820" y="698"/>
                    </a:lnTo>
                    <a:lnTo>
                      <a:pt x="842" y="662"/>
                    </a:lnTo>
                    <a:lnTo>
                      <a:pt x="862" y="622"/>
                    </a:lnTo>
                    <a:lnTo>
                      <a:pt x="876" y="582"/>
                    </a:lnTo>
                    <a:lnTo>
                      <a:pt x="888" y="538"/>
                    </a:lnTo>
                    <a:lnTo>
                      <a:pt x="894" y="494"/>
                    </a:lnTo>
                    <a:lnTo>
                      <a:pt x="898" y="448"/>
                    </a:lnTo>
                    <a:lnTo>
                      <a:pt x="898" y="448"/>
                    </a:lnTo>
                    <a:lnTo>
                      <a:pt x="896" y="424"/>
                    </a:lnTo>
                    <a:lnTo>
                      <a:pt x="894" y="400"/>
                    </a:lnTo>
                    <a:lnTo>
                      <a:pt x="892" y="376"/>
                    </a:lnTo>
                    <a:lnTo>
                      <a:pt x="886" y="352"/>
                    </a:lnTo>
                    <a:lnTo>
                      <a:pt x="882" y="330"/>
                    </a:lnTo>
                    <a:lnTo>
                      <a:pt x="874" y="308"/>
                    </a:lnTo>
                    <a:lnTo>
                      <a:pt x="866" y="286"/>
                    </a:lnTo>
                    <a:lnTo>
                      <a:pt x="858" y="264"/>
                    </a:lnTo>
                    <a:lnTo>
                      <a:pt x="708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6"/>
              <p:cNvSpPr>
                <a:spLocks/>
              </p:cNvSpPr>
              <p:nvPr/>
            </p:nvSpPr>
            <p:spPr bwMode="auto">
              <a:xfrm>
                <a:off x="-866775" y="857250"/>
                <a:ext cx="2057400" cy="2057400"/>
              </a:xfrm>
              <a:custGeom>
                <a:avLst/>
                <a:gdLst>
                  <a:gd name="T0" fmla="*/ 1226 w 1296"/>
                  <a:gd name="T1" fmla="*/ 442 h 1296"/>
                  <a:gd name="T2" fmla="*/ 1258 w 1296"/>
                  <a:gd name="T3" fmla="*/ 576 h 1296"/>
                  <a:gd name="T4" fmla="*/ 1260 w 1296"/>
                  <a:gd name="T5" fmla="*/ 680 h 1296"/>
                  <a:gd name="T6" fmla="*/ 1242 w 1296"/>
                  <a:gd name="T7" fmla="*/ 800 h 1296"/>
                  <a:gd name="T8" fmla="*/ 1202 w 1296"/>
                  <a:gd name="T9" fmla="*/ 914 h 1296"/>
                  <a:gd name="T10" fmla="*/ 1140 w 1296"/>
                  <a:gd name="T11" fmla="*/ 1014 h 1296"/>
                  <a:gd name="T12" fmla="*/ 1060 w 1296"/>
                  <a:gd name="T13" fmla="*/ 1102 h 1296"/>
                  <a:gd name="T14" fmla="*/ 966 w 1296"/>
                  <a:gd name="T15" fmla="*/ 1172 h 1296"/>
                  <a:gd name="T16" fmla="*/ 860 w 1296"/>
                  <a:gd name="T17" fmla="*/ 1224 h 1296"/>
                  <a:gd name="T18" fmla="*/ 742 w 1296"/>
                  <a:gd name="T19" fmla="*/ 1254 h 1296"/>
                  <a:gd name="T20" fmla="*/ 648 w 1296"/>
                  <a:gd name="T21" fmla="*/ 1260 h 1296"/>
                  <a:gd name="T22" fmla="*/ 526 w 1296"/>
                  <a:gd name="T23" fmla="*/ 1248 h 1296"/>
                  <a:gd name="T24" fmla="*/ 410 w 1296"/>
                  <a:gd name="T25" fmla="*/ 1212 h 1296"/>
                  <a:gd name="T26" fmla="*/ 306 w 1296"/>
                  <a:gd name="T27" fmla="*/ 1156 h 1296"/>
                  <a:gd name="T28" fmla="*/ 216 w 1296"/>
                  <a:gd name="T29" fmla="*/ 1082 h 1296"/>
                  <a:gd name="T30" fmla="*/ 140 w 1296"/>
                  <a:gd name="T31" fmla="*/ 990 h 1296"/>
                  <a:gd name="T32" fmla="*/ 84 w 1296"/>
                  <a:gd name="T33" fmla="*/ 886 h 1296"/>
                  <a:gd name="T34" fmla="*/ 48 w 1296"/>
                  <a:gd name="T35" fmla="*/ 772 h 1296"/>
                  <a:gd name="T36" fmla="*/ 36 w 1296"/>
                  <a:gd name="T37" fmla="*/ 648 h 1296"/>
                  <a:gd name="T38" fmla="*/ 44 w 1296"/>
                  <a:gd name="T39" fmla="*/ 554 h 1296"/>
                  <a:gd name="T40" fmla="*/ 74 w 1296"/>
                  <a:gd name="T41" fmla="*/ 438 h 1296"/>
                  <a:gd name="T42" fmla="*/ 124 w 1296"/>
                  <a:gd name="T43" fmla="*/ 330 h 1296"/>
                  <a:gd name="T44" fmla="*/ 196 w 1296"/>
                  <a:gd name="T45" fmla="*/ 236 h 1296"/>
                  <a:gd name="T46" fmla="*/ 282 w 1296"/>
                  <a:gd name="T47" fmla="*/ 156 h 1296"/>
                  <a:gd name="T48" fmla="*/ 384 w 1296"/>
                  <a:gd name="T49" fmla="*/ 96 h 1296"/>
                  <a:gd name="T50" fmla="*/ 496 w 1296"/>
                  <a:gd name="T51" fmla="*/ 54 h 1296"/>
                  <a:gd name="T52" fmla="*/ 618 w 1296"/>
                  <a:gd name="T53" fmla="*/ 36 h 1296"/>
                  <a:gd name="T54" fmla="*/ 732 w 1296"/>
                  <a:gd name="T55" fmla="*/ 40 h 1296"/>
                  <a:gd name="T56" fmla="*/ 886 w 1296"/>
                  <a:gd name="T57" fmla="*/ 82 h 1296"/>
                  <a:gd name="T58" fmla="*/ 1022 w 1296"/>
                  <a:gd name="T59" fmla="*/ 162 h 1296"/>
                  <a:gd name="T60" fmla="*/ 1132 w 1296"/>
                  <a:gd name="T61" fmla="*/ 272 h 1296"/>
                  <a:gd name="T62" fmla="*/ 1206 w 1296"/>
                  <a:gd name="T63" fmla="*/ 318 h 1296"/>
                  <a:gd name="T64" fmla="*/ 1106 w 1296"/>
                  <a:gd name="T65" fmla="*/ 188 h 1296"/>
                  <a:gd name="T66" fmla="*/ 974 w 1296"/>
                  <a:gd name="T67" fmla="*/ 88 h 1296"/>
                  <a:gd name="T68" fmla="*/ 820 w 1296"/>
                  <a:gd name="T69" fmla="*/ 22 h 1296"/>
                  <a:gd name="T70" fmla="*/ 648 w 1296"/>
                  <a:gd name="T71" fmla="*/ 0 h 1296"/>
                  <a:gd name="T72" fmla="*/ 550 w 1296"/>
                  <a:gd name="T73" fmla="*/ 8 h 1296"/>
                  <a:gd name="T74" fmla="*/ 426 w 1296"/>
                  <a:gd name="T75" fmla="*/ 40 h 1296"/>
                  <a:gd name="T76" fmla="*/ 312 w 1296"/>
                  <a:gd name="T77" fmla="*/ 94 h 1296"/>
                  <a:gd name="T78" fmla="*/ 214 w 1296"/>
                  <a:gd name="T79" fmla="*/ 168 h 1296"/>
                  <a:gd name="T80" fmla="*/ 130 w 1296"/>
                  <a:gd name="T81" fmla="*/ 260 h 1296"/>
                  <a:gd name="T82" fmla="*/ 64 w 1296"/>
                  <a:gd name="T83" fmla="*/ 366 h 1296"/>
                  <a:gd name="T84" fmla="*/ 22 w 1296"/>
                  <a:gd name="T85" fmla="*/ 486 h 1296"/>
                  <a:gd name="T86" fmla="*/ 2 w 1296"/>
                  <a:gd name="T87" fmla="*/ 614 h 1296"/>
                  <a:gd name="T88" fmla="*/ 4 w 1296"/>
                  <a:gd name="T89" fmla="*/ 714 h 1296"/>
                  <a:gd name="T90" fmla="*/ 30 w 1296"/>
                  <a:gd name="T91" fmla="*/ 840 h 1296"/>
                  <a:gd name="T92" fmla="*/ 78 w 1296"/>
                  <a:gd name="T93" fmla="*/ 956 h 1296"/>
                  <a:gd name="T94" fmla="*/ 148 w 1296"/>
                  <a:gd name="T95" fmla="*/ 1060 h 1296"/>
                  <a:gd name="T96" fmla="*/ 236 w 1296"/>
                  <a:gd name="T97" fmla="*/ 1148 h 1296"/>
                  <a:gd name="T98" fmla="*/ 340 w 1296"/>
                  <a:gd name="T99" fmla="*/ 1218 h 1296"/>
                  <a:gd name="T100" fmla="*/ 456 w 1296"/>
                  <a:gd name="T101" fmla="*/ 1266 h 1296"/>
                  <a:gd name="T102" fmla="*/ 582 w 1296"/>
                  <a:gd name="T103" fmla="*/ 1292 h 1296"/>
                  <a:gd name="T104" fmla="*/ 682 w 1296"/>
                  <a:gd name="T105" fmla="*/ 1294 h 1296"/>
                  <a:gd name="T106" fmla="*/ 810 w 1296"/>
                  <a:gd name="T107" fmla="*/ 1276 h 1296"/>
                  <a:gd name="T108" fmla="*/ 930 w 1296"/>
                  <a:gd name="T109" fmla="*/ 1232 h 1296"/>
                  <a:gd name="T110" fmla="*/ 1036 w 1296"/>
                  <a:gd name="T111" fmla="*/ 1168 h 1296"/>
                  <a:gd name="T112" fmla="*/ 1128 w 1296"/>
                  <a:gd name="T113" fmla="*/ 1084 h 1296"/>
                  <a:gd name="T114" fmla="*/ 1202 w 1296"/>
                  <a:gd name="T115" fmla="*/ 984 h 1296"/>
                  <a:gd name="T116" fmla="*/ 1258 w 1296"/>
                  <a:gd name="T117" fmla="*/ 870 h 1296"/>
                  <a:gd name="T118" fmla="*/ 1290 w 1296"/>
                  <a:gd name="T119" fmla="*/ 746 h 1296"/>
                  <a:gd name="T120" fmla="*/ 1296 w 1296"/>
                  <a:gd name="T121" fmla="*/ 648 h 1296"/>
                  <a:gd name="T122" fmla="*/ 1280 w 1296"/>
                  <a:gd name="T123" fmla="*/ 500 h 1296"/>
                  <a:gd name="T124" fmla="*/ 1230 w 1296"/>
                  <a:gd name="T125" fmla="*/ 362 h 1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96" h="1296">
                    <a:moveTo>
                      <a:pt x="1200" y="380"/>
                    </a:moveTo>
                    <a:lnTo>
                      <a:pt x="1200" y="380"/>
                    </a:lnTo>
                    <a:lnTo>
                      <a:pt x="1214" y="412"/>
                    </a:lnTo>
                    <a:lnTo>
                      <a:pt x="1226" y="442"/>
                    </a:lnTo>
                    <a:lnTo>
                      <a:pt x="1236" y="476"/>
                    </a:lnTo>
                    <a:lnTo>
                      <a:pt x="1246" y="508"/>
                    </a:lnTo>
                    <a:lnTo>
                      <a:pt x="1252" y="542"/>
                    </a:lnTo>
                    <a:lnTo>
                      <a:pt x="1258" y="576"/>
                    </a:lnTo>
                    <a:lnTo>
                      <a:pt x="1260" y="612"/>
                    </a:lnTo>
                    <a:lnTo>
                      <a:pt x="1262" y="648"/>
                    </a:lnTo>
                    <a:lnTo>
                      <a:pt x="1262" y="648"/>
                    </a:lnTo>
                    <a:lnTo>
                      <a:pt x="1260" y="680"/>
                    </a:lnTo>
                    <a:lnTo>
                      <a:pt x="1258" y="710"/>
                    </a:lnTo>
                    <a:lnTo>
                      <a:pt x="1254" y="742"/>
                    </a:lnTo>
                    <a:lnTo>
                      <a:pt x="1250" y="772"/>
                    </a:lnTo>
                    <a:lnTo>
                      <a:pt x="1242" y="800"/>
                    </a:lnTo>
                    <a:lnTo>
                      <a:pt x="1234" y="830"/>
                    </a:lnTo>
                    <a:lnTo>
                      <a:pt x="1224" y="858"/>
                    </a:lnTo>
                    <a:lnTo>
                      <a:pt x="1214" y="886"/>
                    </a:lnTo>
                    <a:lnTo>
                      <a:pt x="1202" y="914"/>
                    </a:lnTo>
                    <a:lnTo>
                      <a:pt x="1188" y="940"/>
                    </a:lnTo>
                    <a:lnTo>
                      <a:pt x="1172" y="966"/>
                    </a:lnTo>
                    <a:lnTo>
                      <a:pt x="1156" y="990"/>
                    </a:lnTo>
                    <a:lnTo>
                      <a:pt x="1140" y="1014"/>
                    </a:lnTo>
                    <a:lnTo>
                      <a:pt x="1122" y="1038"/>
                    </a:lnTo>
                    <a:lnTo>
                      <a:pt x="1102" y="1060"/>
                    </a:lnTo>
                    <a:lnTo>
                      <a:pt x="1082" y="1082"/>
                    </a:lnTo>
                    <a:lnTo>
                      <a:pt x="1060" y="1102"/>
                    </a:lnTo>
                    <a:lnTo>
                      <a:pt x="1038" y="1120"/>
                    </a:lnTo>
                    <a:lnTo>
                      <a:pt x="1016" y="1138"/>
                    </a:lnTo>
                    <a:lnTo>
                      <a:pt x="992" y="1156"/>
                    </a:lnTo>
                    <a:lnTo>
                      <a:pt x="966" y="1172"/>
                    </a:lnTo>
                    <a:lnTo>
                      <a:pt x="940" y="1186"/>
                    </a:lnTo>
                    <a:lnTo>
                      <a:pt x="914" y="1200"/>
                    </a:lnTo>
                    <a:lnTo>
                      <a:pt x="888" y="1212"/>
                    </a:lnTo>
                    <a:lnTo>
                      <a:pt x="860" y="1224"/>
                    </a:lnTo>
                    <a:lnTo>
                      <a:pt x="830" y="1232"/>
                    </a:lnTo>
                    <a:lnTo>
                      <a:pt x="802" y="1242"/>
                    </a:lnTo>
                    <a:lnTo>
                      <a:pt x="772" y="1248"/>
                    </a:lnTo>
                    <a:lnTo>
                      <a:pt x="742" y="1254"/>
                    </a:lnTo>
                    <a:lnTo>
                      <a:pt x="712" y="1258"/>
                    </a:lnTo>
                    <a:lnTo>
                      <a:pt x="680" y="1260"/>
                    </a:lnTo>
                    <a:lnTo>
                      <a:pt x="648" y="1260"/>
                    </a:lnTo>
                    <a:lnTo>
                      <a:pt x="648" y="1260"/>
                    </a:lnTo>
                    <a:lnTo>
                      <a:pt x="618" y="1260"/>
                    </a:lnTo>
                    <a:lnTo>
                      <a:pt x="586" y="1258"/>
                    </a:lnTo>
                    <a:lnTo>
                      <a:pt x="556" y="1254"/>
                    </a:lnTo>
                    <a:lnTo>
                      <a:pt x="526" y="1248"/>
                    </a:lnTo>
                    <a:lnTo>
                      <a:pt x="496" y="1242"/>
                    </a:lnTo>
                    <a:lnTo>
                      <a:pt x="466" y="1232"/>
                    </a:lnTo>
                    <a:lnTo>
                      <a:pt x="438" y="1224"/>
                    </a:lnTo>
                    <a:lnTo>
                      <a:pt x="410" y="1212"/>
                    </a:lnTo>
                    <a:lnTo>
                      <a:pt x="384" y="1200"/>
                    </a:lnTo>
                    <a:lnTo>
                      <a:pt x="356" y="1186"/>
                    </a:lnTo>
                    <a:lnTo>
                      <a:pt x="332" y="1172"/>
                    </a:lnTo>
                    <a:lnTo>
                      <a:pt x="306" y="1156"/>
                    </a:lnTo>
                    <a:lnTo>
                      <a:pt x="282" y="1138"/>
                    </a:lnTo>
                    <a:lnTo>
                      <a:pt x="258" y="1120"/>
                    </a:lnTo>
                    <a:lnTo>
                      <a:pt x="236" y="1102"/>
                    </a:lnTo>
                    <a:lnTo>
                      <a:pt x="216" y="1082"/>
                    </a:lnTo>
                    <a:lnTo>
                      <a:pt x="196" y="1060"/>
                    </a:lnTo>
                    <a:lnTo>
                      <a:pt x="176" y="1038"/>
                    </a:lnTo>
                    <a:lnTo>
                      <a:pt x="158" y="1014"/>
                    </a:lnTo>
                    <a:lnTo>
                      <a:pt x="140" y="990"/>
                    </a:lnTo>
                    <a:lnTo>
                      <a:pt x="124" y="966"/>
                    </a:lnTo>
                    <a:lnTo>
                      <a:pt x="110" y="940"/>
                    </a:lnTo>
                    <a:lnTo>
                      <a:pt x="96" y="914"/>
                    </a:lnTo>
                    <a:lnTo>
                      <a:pt x="84" y="886"/>
                    </a:lnTo>
                    <a:lnTo>
                      <a:pt x="74" y="858"/>
                    </a:lnTo>
                    <a:lnTo>
                      <a:pt x="64" y="830"/>
                    </a:lnTo>
                    <a:lnTo>
                      <a:pt x="56" y="800"/>
                    </a:lnTo>
                    <a:lnTo>
                      <a:pt x="48" y="772"/>
                    </a:lnTo>
                    <a:lnTo>
                      <a:pt x="44" y="742"/>
                    </a:lnTo>
                    <a:lnTo>
                      <a:pt x="40" y="710"/>
                    </a:lnTo>
                    <a:lnTo>
                      <a:pt x="36" y="680"/>
                    </a:lnTo>
                    <a:lnTo>
                      <a:pt x="36" y="648"/>
                    </a:lnTo>
                    <a:lnTo>
                      <a:pt x="36" y="648"/>
                    </a:lnTo>
                    <a:lnTo>
                      <a:pt x="36" y="616"/>
                    </a:lnTo>
                    <a:lnTo>
                      <a:pt x="40" y="586"/>
                    </a:lnTo>
                    <a:lnTo>
                      <a:pt x="44" y="554"/>
                    </a:lnTo>
                    <a:lnTo>
                      <a:pt x="48" y="524"/>
                    </a:lnTo>
                    <a:lnTo>
                      <a:pt x="56" y="494"/>
                    </a:lnTo>
                    <a:lnTo>
                      <a:pt x="64" y="466"/>
                    </a:lnTo>
                    <a:lnTo>
                      <a:pt x="74" y="438"/>
                    </a:lnTo>
                    <a:lnTo>
                      <a:pt x="84" y="410"/>
                    </a:lnTo>
                    <a:lnTo>
                      <a:pt x="96" y="382"/>
                    </a:lnTo>
                    <a:lnTo>
                      <a:pt x="110" y="356"/>
                    </a:lnTo>
                    <a:lnTo>
                      <a:pt x="124" y="330"/>
                    </a:lnTo>
                    <a:lnTo>
                      <a:pt x="140" y="306"/>
                    </a:lnTo>
                    <a:lnTo>
                      <a:pt x="158" y="282"/>
                    </a:lnTo>
                    <a:lnTo>
                      <a:pt x="176" y="258"/>
                    </a:lnTo>
                    <a:lnTo>
                      <a:pt x="196" y="236"/>
                    </a:lnTo>
                    <a:lnTo>
                      <a:pt x="216" y="214"/>
                    </a:lnTo>
                    <a:lnTo>
                      <a:pt x="236" y="194"/>
                    </a:lnTo>
                    <a:lnTo>
                      <a:pt x="258" y="174"/>
                    </a:lnTo>
                    <a:lnTo>
                      <a:pt x="282" y="156"/>
                    </a:lnTo>
                    <a:lnTo>
                      <a:pt x="306" y="140"/>
                    </a:lnTo>
                    <a:lnTo>
                      <a:pt x="332" y="124"/>
                    </a:lnTo>
                    <a:lnTo>
                      <a:pt x="356" y="108"/>
                    </a:lnTo>
                    <a:lnTo>
                      <a:pt x="384" y="96"/>
                    </a:lnTo>
                    <a:lnTo>
                      <a:pt x="410" y="84"/>
                    </a:lnTo>
                    <a:lnTo>
                      <a:pt x="438" y="72"/>
                    </a:lnTo>
                    <a:lnTo>
                      <a:pt x="466" y="62"/>
                    </a:lnTo>
                    <a:lnTo>
                      <a:pt x="496" y="54"/>
                    </a:lnTo>
                    <a:lnTo>
                      <a:pt x="526" y="48"/>
                    </a:lnTo>
                    <a:lnTo>
                      <a:pt x="556" y="42"/>
                    </a:lnTo>
                    <a:lnTo>
                      <a:pt x="586" y="38"/>
                    </a:lnTo>
                    <a:lnTo>
                      <a:pt x="618" y="36"/>
                    </a:lnTo>
                    <a:lnTo>
                      <a:pt x="648" y="34"/>
                    </a:lnTo>
                    <a:lnTo>
                      <a:pt x="648" y="34"/>
                    </a:lnTo>
                    <a:lnTo>
                      <a:pt x="690" y="36"/>
                    </a:lnTo>
                    <a:lnTo>
                      <a:pt x="732" y="40"/>
                    </a:lnTo>
                    <a:lnTo>
                      <a:pt x="772" y="48"/>
                    </a:lnTo>
                    <a:lnTo>
                      <a:pt x="810" y="56"/>
                    </a:lnTo>
                    <a:lnTo>
                      <a:pt x="850" y="68"/>
                    </a:lnTo>
                    <a:lnTo>
                      <a:pt x="886" y="82"/>
                    </a:lnTo>
                    <a:lnTo>
                      <a:pt x="922" y="100"/>
                    </a:lnTo>
                    <a:lnTo>
                      <a:pt x="956" y="118"/>
                    </a:lnTo>
                    <a:lnTo>
                      <a:pt x="990" y="138"/>
                    </a:lnTo>
                    <a:lnTo>
                      <a:pt x="1022" y="162"/>
                    </a:lnTo>
                    <a:lnTo>
                      <a:pt x="1052" y="186"/>
                    </a:lnTo>
                    <a:lnTo>
                      <a:pt x="1080" y="212"/>
                    </a:lnTo>
                    <a:lnTo>
                      <a:pt x="1108" y="242"/>
                    </a:lnTo>
                    <a:lnTo>
                      <a:pt x="1132" y="272"/>
                    </a:lnTo>
                    <a:lnTo>
                      <a:pt x="1156" y="302"/>
                    </a:lnTo>
                    <a:lnTo>
                      <a:pt x="1176" y="336"/>
                    </a:lnTo>
                    <a:lnTo>
                      <a:pt x="1206" y="318"/>
                    </a:lnTo>
                    <a:lnTo>
                      <a:pt x="1206" y="318"/>
                    </a:lnTo>
                    <a:lnTo>
                      <a:pt x="1184" y="282"/>
                    </a:lnTo>
                    <a:lnTo>
                      <a:pt x="1160" y="250"/>
                    </a:lnTo>
                    <a:lnTo>
                      <a:pt x="1134" y="218"/>
                    </a:lnTo>
                    <a:lnTo>
                      <a:pt x="1106" y="188"/>
                    </a:lnTo>
                    <a:lnTo>
                      <a:pt x="1074" y="160"/>
                    </a:lnTo>
                    <a:lnTo>
                      <a:pt x="1044" y="134"/>
                    </a:lnTo>
                    <a:lnTo>
                      <a:pt x="1010" y="110"/>
                    </a:lnTo>
                    <a:lnTo>
                      <a:pt x="974" y="88"/>
                    </a:lnTo>
                    <a:lnTo>
                      <a:pt x="938" y="68"/>
                    </a:lnTo>
                    <a:lnTo>
                      <a:pt x="900" y="50"/>
                    </a:lnTo>
                    <a:lnTo>
                      <a:pt x="860" y="36"/>
                    </a:lnTo>
                    <a:lnTo>
                      <a:pt x="820" y="22"/>
                    </a:lnTo>
                    <a:lnTo>
                      <a:pt x="778" y="12"/>
                    </a:lnTo>
                    <a:lnTo>
                      <a:pt x="736" y="6"/>
                    </a:lnTo>
                    <a:lnTo>
                      <a:pt x="692" y="2"/>
                    </a:lnTo>
                    <a:lnTo>
                      <a:pt x="648" y="0"/>
                    </a:lnTo>
                    <a:lnTo>
                      <a:pt x="648" y="0"/>
                    </a:lnTo>
                    <a:lnTo>
                      <a:pt x="616" y="0"/>
                    </a:lnTo>
                    <a:lnTo>
                      <a:pt x="582" y="4"/>
                    </a:lnTo>
                    <a:lnTo>
                      <a:pt x="550" y="8"/>
                    </a:lnTo>
                    <a:lnTo>
                      <a:pt x="518" y="12"/>
                    </a:lnTo>
                    <a:lnTo>
                      <a:pt x="486" y="20"/>
                    </a:lnTo>
                    <a:lnTo>
                      <a:pt x="456" y="28"/>
                    </a:lnTo>
                    <a:lnTo>
                      <a:pt x="426" y="40"/>
                    </a:lnTo>
                    <a:lnTo>
                      <a:pt x="396" y="50"/>
                    </a:lnTo>
                    <a:lnTo>
                      <a:pt x="368" y="64"/>
                    </a:lnTo>
                    <a:lnTo>
                      <a:pt x="340" y="78"/>
                    </a:lnTo>
                    <a:lnTo>
                      <a:pt x="312" y="94"/>
                    </a:lnTo>
                    <a:lnTo>
                      <a:pt x="286" y="110"/>
                    </a:lnTo>
                    <a:lnTo>
                      <a:pt x="262" y="128"/>
                    </a:lnTo>
                    <a:lnTo>
                      <a:pt x="236" y="148"/>
                    </a:lnTo>
                    <a:lnTo>
                      <a:pt x="214" y="168"/>
                    </a:lnTo>
                    <a:lnTo>
                      <a:pt x="190" y="190"/>
                    </a:lnTo>
                    <a:lnTo>
                      <a:pt x="170" y="212"/>
                    </a:lnTo>
                    <a:lnTo>
                      <a:pt x="148" y="236"/>
                    </a:lnTo>
                    <a:lnTo>
                      <a:pt x="130" y="260"/>
                    </a:lnTo>
                    <a:lnTo>
                      <a:pt x="112" y="286"/>
                    </a:lnTo>
                    <a:lnTo>
                      <a:pt x="94" y="312"/>
                    </a:lnTo>
                    <a:lnTo>
                      <a:pt x="78" y="338"/>
                    </a:lnTo>
                    <a:lnTo>
                      <a:pt x="64" y="366"/>
                    </a:lnTo>
                    <a:lnTo>
                      <a:pt x="52" y="396"/>
                    </a:lnTo>
                    <a:lnTo>
                      <a:pt x="40" y="424"/>
                    </a:lnTo>
                    <a:lnTo>
                      <a:pt x="30" y="456"/>
                    </a:lnTo>
                    <a:lnTo>
                      <a:pt x="22" y="486"/>
                    </a:lnTo>
                    <a:lnTo>
                      <a:pt x="14" y="518"/>
                    </a:lnTo>
                    <a:lnTo>
                      <a:pt x="8" y="550"/>
                    </a:lnTo>
                    <a:lnTo>
                      <a:pt x="4" y="582"/>
                    </a:lnTo>
                    <a:lnTo>
                      <a:pt x="2" y="614"/>
                    </a:lnTo>
                    <a:lnTo>
                      <a:pt x="0" y="648"/>
                    </a:lnTo>
                    <a:lnTo>
                      <a:pt x="0" y="648"/>
                    </a:lnTo>
                    <a:lnTo>
                      <a:pt x="2" y="682"/>
                    </a:lnTo>
                    <a:lnTo>
                      <a:pt x="4" y="714"/>
                    </a:lnTo>
                    <a:lnTo>
                      <a:pt x="8" y="746"/>
                    </a:lnTo>
                    <a:lnTo>
                      <a:pt x="14" y="778"/>
                    </a:lnTo>
                    <a:lnTo>
                      <a:pt x="22" y="810"/>
                    </a:lnTo>
                    <a:lnTo>
                      <a:pt x="30" y="840"/>
                    </a:lnTo>
                    <a:lnTo>
                      <a:pt x="40" y="870"/>
                    </a:lnTo>
                    <a:lnTo>
                      <a:pt x="52" y="900"/>
                    </a:lnTo>
                    <a:lnTo>
                      <a:pt x="64" y="928"/>
                    </a:lnTo>
                    <a:lnTo>
                      <a:pt x="78" y="956"/>
                    </a:lnTo>
                    <a:lnTo>
                      <a:pt x="94" y="984"/>
                    </a:lnTo>
                    <a:lnTo>
                      <a:pt x="112" y="1010"/>
                    </a:lnTo>
                    <a:lnTo>
                      <a:pt x="130" y="1036"/>
                    </a:lnTo>
                    <a:lnTo>
                      <a:pt x="148" y="1060"/>
                    </a:lnTo>
                    <a:lnTo>
                      <a:pt x="170" y="1084"/>
                    </a:lnTo>
                    <a:lnTo>
                      <a:pt x="190" y="1106"/>
                    </a:lnTo>
                    <a:lnTo>
                      <a:pt x="214" y="1128"/>
                    </a:lnTo>
                    <a:lnTo>
                      <a:pt x="236" y="1148"/>
                    </a:lnTo>
                    <a:lnTo>
                      <a:pt x="262" y="1168"/>
                    </a:lnTo>
                    <a:lnTo>
                      <a:pt x="286" y="1186"/>
                    </a:lnTo>
                    <a:lnTo>
                      <a:pt x="312" y="1202"/>
                    </a:lnTo>
                    <a:lnTo>
                      <a:pt x="340" y="1218"/>
                    </a:lnTo>
                    <a:lnTo>
                      <a:pt x="368" y="1232"/>
                    </a:lnTo>
                    <a:lnTo>
                      <a:pt x="396" y="1244"/>
                    </a:lnTo>
                    <a:lnTo>
                      <a:pt x="426" y="1256"/>
                    </a:lnTo>
                    <a:lnTo>
                      <a:pt x="456" y="1266"/>
                    </a:lnTo>
                    <a:lnTo>
                      <a:pt x="486" y="1276"/>
                    </a:lnTo>
                    <a:lnTo>
                      <a:pt x="518" y="1282"/>
                    </a:lnTo>
                    <a:lnTo>
                      <a:pt x="550" y="1288"/>
                    </a:lnTo>
                    <a:lnTo>
                      <a:pt x="582" y="1292"/>
                    </a:lnTo>
                    <a:lnTo>
                      <a:pt x="616" y="1294"/>
                    </a:lnTo>
                    <a:lnTo>
                      <a:pt x="648" y="1296"/>
                    </a:lnTo>
                    <a:lnTo>
                      <a:pt x="648" y="1296"/>
                    </a:lnTo>
                    <a:lnTo>
                      <a:pt x="682" y="1294"/>
                    </a:lnTo>
                    <a:lnTo>
                      <a:pt x="716" y="1292"/>
                    </a:lnTo>
                    <a:lnTo>
                      <a:pt x="748" y="1288"/>
                    </a:lnTo>
                    <a:lnTo>
                      <a:pt x="780" y="1282"/>
                    </a:lnTo>
                    <a:lnTo>
                      <a:pt x="810" y="1276"/>
                    </a:lnTo>
                    <a:lnTo>
                      <a:pt x="842" y="1266"/>
                    </a:lnTo>
                    <a:lnTo>
                      <a:pt x="872" y="1256"/>
                    </a:lnTo>
                    <a:lnTo>
                      <a:pt x="900" y="1244"/>
                    </a:lnTo>
                    <a:lnTo>
                      <a:pt x="930" y="1232"/>
                    </a:lnTo>
                    <a:lnTo>
                      <a:pt x="958" y="1218"/>
                    </a:lnTo>
                    <a:lnTo>
                      <a:pt x="984" y="1202"/>
                    </a:lnTo>
                    <a:lnTo>
                      <a:pt x="1012" y="1186"/>
                    </a:lnTo>
                    <a:lnTo>
                      <a:pt x="1036" y="1168"/>
                    </a:lnTo>
                    <a:lnTo>
                      <a:pt x="1060" y="1148"/>
                    </a:lnTo>
                    <a:lnTo>
                      <a:pt x="1084" y="1128"/>
                    </a:lnTo>
                    <a:lnTo>
                      <a:pt x="1106" y="1106"/>
                    </a:lnTo>
                    <a:lnTo>
                      <a:pt x="1128" y="1084"/>
                    </a:lnTo>
                    <a:lnTo>
                      <a:pt x="1148" y="1060"/>
                    </a:lnTo>
                    <a:lnTo>
                      <a:pt x="1168" y="1036"/>
                    </a:lnTo>
                    <a:lnTo>
                      <a:pt x="1186" y="1010"/>
                    </a:lnTo>
                    <a:lnTo>
                      <a:pt x="1202" y="984"/>
                    </a:lnTo>
                    <a:lnTo>
                      <a:pt x="1218" y="956"/>
                    </a:lnTo>
                    <a:lnTo>
                      <a:pt x="1232" y="928"/>
                    </a:lnTo>
                    <a:lnTo>
                      <a:pt x="1246" y="900"/>
                    </a:lnTo>
                    <a:lnTo>
                      <a:pt x="1258" y="870"/>
                    </a:lnTo>
                    <a:lnTo>
                      <a:pt x="1268" y="840"/>
                    </a:lnTo>
                    <a:lnTo>
                      <a:pt x="1276" y="810"/>
                    </a:lnTo>
                    <a:lnTo>
                      <a:pt x="1284" y="778"/>
                    </a:lnTo>
                    <a:lnTo>
                      <a:pt x="1290" y="746"/>
                    </a:lnTo>
                    <a:lnTo>
                      <a:pt x="1294" y="714"/>
                    </a:lnTo>
                    <a:lnTo>
                      <a:pt x="1296" y="682"/>
                    </a:lnTo>
                    <a:lnTo>
                      <a:pt x="1296" y="648"/>
                    </a:lnTo>
                    <a:lnTo>
                      <a:pt x="1296" y="648"/>
                    </a:lnTo>
                    <a:lnTo>
                      <a:pt x="1296" y="610"/>
                    </a:lnTo>
                    <a:lnTo>
                      <a:pt x="1292" y="572"/>
                    </a:lnTo>
                    <a:lnTo>
                      <a:pt x="1288" y="536"/>
                    </a:lnTo>
                    <a:lnTo>
                      <a:pt x="1280" y="500"/>
                    </a:lnTo>
                    <a:lnTo>
                      <a:pt x="1270" y="464"/>
                    </a:lnTo>
                    <a:lnTo>
                      <a:pt x="1258" y="430"/>
                    </a:lnTo>
                    <a:lnTo>
                      <a:pt x="1246" y="396"/>
                    </a:lnTo>
                    <a:lnTo>
                      <a:pt x="1230" y="362"/>
                    </a:lnTo>
                    <a:lnTo>
                      <a:pt x="1200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2939322" y="3727905"/>
            <a:ext cx="889000" cy="889000"/>
            <a:chOff x="4125686" y="3585029"/>
            <a:chExt cx="889000" cy="889000"/>
          </a:xfrm>
        </p:grpSpPr>
        <p:sp>
          <p:nvSpPr>
            <p:cNvPr id="102" name="Oval 101"/>
            <p:cNvSpPr/>
            <p:nvPr/>
          </p:nvSpPr>
          <p:spPr>
            <a:xfrm>
              <a:off x="4125686" y="3585029"/>
              <a:ext cx="889000" cy="889000"/>
            </a:xfrm>
            <a:prstGeom prst="ellipse">
              <a:avLst/>
            </a:prstGeom>
            <a:solidFill>
              <a:srgbClr val="F0B71F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4264238" y="3843807"/>
              <a:ext cx="615524" cy="334803"/>
              <a:chOff x="412750" y="3843338"/>
              <a:chExt cx="379413" cy="206375"/>
            </a:xfrm>
            <a:solidFill>
              <a:schemeClr val="bg1"/>
            </a:solidFill>
          </p:grpSpPr>
          <p:sp>
            <p:nvSpPr>
              <p:cNvPr id="104" name="Freeform 235"/>
              <p:cNvSpPr>
                <a:spLocks/>
              </p:cNvSpPr>
              <p:nvPr/>
            </p:nvSpPr>
            <p:spPr bwMode="auto">
              <a:xfrm>
                <a:off x="495300" y="3843338"/>
                <a:ext cx="215900" cy="206375"/>
              </a:xfrm>
              <a:custGeom>
                <a:avLst/>
                <a:gdLst>
                  <a:gd name="T0" fmla="*/ 363 w 681"/>
                  <a:gd name="T1" fmla="*/ 1 h 649"/>
                  <a:gd name="T2" fmla="*/ 394 w 681"/>
                  <a:gd name="T3" fmla="*/ 8 h 649"/>
                  <a:gd name="T4" fmla="*/ 419 w 681"/>
                  <a:gd name="T5" fmla="*/ 26 h 649"/>
                  <a:gd name="T6" fmla="*/ 454 w 681"/>
                  <a:gd name="T7" fmla="*/ 70 h 649"/>
                  <a:gd name="T8" fmla="*/ 468 w 681"/>
                  <a:gd name="T9" fmla="*/ 101 h 649"/>
                  <a:gd name="T10" fmla="*/ 472 w 681"/>
                  <a:gd name="T11" fmla="*/ 126 h 649"/>
                  <a:gd name="T12" fmla="*/ 471 w 681"/>
                  <a:gd name="T13" fmla="*/ 153 h 649"/>
                  <a:gd name="T14" fmla="*/ 461 w 681"/>
                  <a:gd name="T15" fmla="*/ 213 h 649"/>
                  <a:gd name="T16" fmla="*/ 471 w 681"/>
                  <a:gd name="T17" fmla="*/ 210 h 649"/>
                  <a:gd name="T18" fmla="*/ 479 w 681"/>
                  <a:gd name="T19" fmla="*/ 215 h 649"/>
                  <a:gd name="T20" fmla="*/ 472 w 681"/>
                  <a:gd name="T21" fmla="*/ 275 h 649"/>
                  <a:gd name="T22" fmla="*/ 463 w 681"/>
                  <a:gd name="T23" fmla="*/ 306 h 649"/>
                  <a:gd name="T24" fmla="*/ 458 w 681"/>
                  <a:gd name="T25" fmla="*/ 312 h 649"/>
                  <a:gd name="T26" fmla="*/ 447 w 681"/>
                  <a:gd name="T27" fmla="*/ 316 h 649"/>
                  <a:gd name="T28" fmla="*/ 442 w 681"/>
                  <a:gd name="T29" fmla="*/ 351 h 649"/>
                  <a:gd name="T30" fmla="*/ 423 w 681"/>
                  <a:gd name="T31" fmla="*/ 379 h 649"/>
                  <a:gd name="T32" fmla="*/ 434 w 681"/>
                  <a:gd name="T33" fmla="*/ 397 h 649"/>
                  <a:gd name="T34" fmla="*/ 439 w 681"/>
                  <a:gd name="T35" fmla="*/ 417 h 649"/>
                  <a:gd name="T36" fmla="*/ 463 w 681"/>
                  <a:gd name="T37" fmla="*/ 437 h 649"/>
                  <a:gd name="T38" fmla="*/ 529 w 681"/>
                  <a:gd name="T39" fmla="*/ 466 h 649"/>
                  <a:gd name="T40" fmla="*/ 612 w 681"/>
                  <a:gd name="T41" fmla="*/ 501 h 649"/>
                  <a:gd name="T42" fmla="*/ 661 w 681"/>
                  <a:gd name="T43" fmla="*/ 529 h 649"/>
                  <a:gd name="T44" fmla="*/ 678 w 681"/>
                  <a:gd name="T45" fmla="*/ 549 h 649"/>
                  <a:gd name="T46" fmla="*/ 680 w 681"/>
                  <a:gd name="T47" fmla="*/ 575 h 649"/>
                  <a:gd name="T48" fmla="*/ 678 w 681"/>
                  <a:gd name="T49" fmla="*/ 629 h 649"/>
                  <a:gd name="T50" fmla="*/ 340 w 681"/>
                  <a:gd name="T51" fmla="*/ 649 h 649"/>
                  <a:gd name="T52" fmla="*/ 4 w 681"/>
                  <a:gd name="T53" fmla="*/ 629 h 649"/>
                  <a:gd name="T54" fmla="*/ 1 w 681"/>
                  <a:gd name="T55" fmla="*/ 575 h 649"/>
                  <a:gd name="T56" fmla="*/ 4 w 681"/>
                  <a:gd name="T57" fmla="*/ 549 h 649"/>
                  <a:gd name="T58" fmla="*/ 21 w 681"/>
                  <a:gd name="T59" fmla="*/ 529 h 649"/>
                  <a:gd name="T60" fmla="*/ 69 w 681"/>
                  <a:gd name="T61" fmla="*/ 501 h 649"/>
                  <a:gd name="T62" fmla="*/ 153 w 681"/>
                  <a:gd name="T63" fmla="*/ 466 h 649"/>
                  <a:gd name="T64" fmla="*/ 218 w 681"/>
                  <a:gd name="T65" fmla="*/ 437 h 649"/>
                  <a:gd name="T66" fmla="*/ 242 w 681"/>
                  <a:gd name="T67" fmla="*/ 417 h 649"/>
                  <a:gd name="T68" fmla="*/ 248 w 681"/>
                  <a:gd name="T69" fmla="*/ 397 h 649"/>
                  <a:gd name="T70" fmla="*/ 259 w 681"/>
                  <a:gd name="T71" fmla="*/ 379 h 649"/>
                  <a:gd name="T72" fmla="*/ 240 w 681"/>
                  <a:gd name="T73" fmla="*/ 351 h 649"/>
                  <a:gd name="T74" fmla="*/ 234 w 681"/>
                  <a:gd name="T75" fmla="*/ 316 h 649"/>
                  <a:gd name="T76" fmla="*/ 224 w 681"/>
                  <a:gd name="T77" fmla="*/ 312 h 649"/>
                  <a:gd name="T78" fmla="*/ 218 w 681"/>
                  <a:gd name="T79" fmla="*/ 306 h 649"/>
                  <a:gd name="T80" fmla="*/ 209 w 681"/>
                  <a:gd name="T81" fmla="*/ 275 h 649"/>
                  <a:gd name="T82" fmla="*/ 201 w 681"/>
                  <a:gd name="T83" fmla="*/ 216 h 649"/>
                  <a:gd name="T84" fmla="*/ 207 w 681"/>
                  <a:gd name="T85" fmla="*/ 210 h 649"/>
                  <a:gd name="T86" fmla="*/ 213 w 681"/>
                  <a:gd name="T87" fmla="*/ 204 h 649"/>
                  <a:gd name="T88" fmla="*/ 201 w 681"/>
                  <a:gd name="T89" fmla="*/ 164 h 649"/>
                  <a:gd name="T90" fmla="*/ 203 w 681"/>
                  <a:gd name="T91" fmla="*/ 102 h 649"/>
                  <a:gd name="T92" fmla="*/ 211 w 681"/>
                  <a:gd name="T93" fmla="*/ 65 h 649"/>
                  <a:gd name="T94" fmla="*/ 220 w 681"/>
                  <a:gd name="T95" fmla="*/ 44 h 649"/>
                  <a:gd name="T96" fmla="*/ 235 w 681"/>
                  <a:gd name="T97" fmla="*/ 35 h 649"/>
                  <a:gd name="T98" fmla="*/ 248 w 681"/>
                  <a:gd name="T99" fmla="*/ 36 h 649"/>
                  <a:gd name="T100" fmla="*/ 261 w 681"/>
                  <a:gd name="T101" fmla="*/ 26 h 649"/>
                  <a:gd name="T102" fmla="*/ 287 w 681"/>
                  <a:gd name="T103" fmla="*/ 8 h 649"/>
                  <a:gd name="T104" fmla="*/ 319 w 681"/>
                  <a:gd name="T105" fmla="*/ 1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1" h="649">
                    <a:moveTo>
                      <a:pt x="340" y="0"/>
                    </a:moveTo>
                    <a:lnTo>
                      <a:pt x="351" y="0"/>
                    </a:lnTo>
                    <a:lnTo>
                      <a:pt x="363" y="1"/>
                    </a:lnTo>
                    <a:lnTo>
                      <a:pt x="373" y="3"/>
                    </a:lnTo>
                    <a:lnTo>
                      <a:pt x="384" y="5"/>
                    </a:lnTo>
                    <a:lnTo>
                      <a:pt x="394" y="8"/>
                    </a:lnTo>
                    <a:lnTo>
                      <a:pt x="403" y="13"/>
                    </a:lnTo>
                    <a:lnTo>
                      <a:pt x="412" y="18"/>
                    </a:lnTo>
                    <a:lnTo>
                      <a:pt x="419" y="26"/>
                    </a:lnTo>
                    <a:lnTo>
                      <a:pt x="433" y="41"/>
                    </a:lnTo>
                    <a:lnTo>
                      <a:pt x="445" y="56"/>
                    </a:lnTo>
                    <a:lnTo>
                      <a:pt x="454" y="70"/>
                    </a:lnTo>
                    <a:lnTo>
                      <a:pt x="462" y="85"/>
                    </a:lnTo>
                    <a:lnTo>
                      <a:pt x="465" y="93"/>
                    </a:lnTo>
                    <a:lnTo>
                      <a:pt x="468" y="101"/>
                    </a:lnTo>
                    <a:lnTo>
                      <a:pt x="470" y="109"/>
                    </a:lnTo>
                    <a:lnTo>
                      <a:pt x="471" y="117"/>
                    </a:lnTo>
                    <a:lnTo>
                      <a:pt x="472" y="126"/>
                    </a:lnTo>
                    <a:lnTo>
                      <a:pt x="472" y="134"/>
                    </a:lnTo>
                    <a:lnTo>
                      <a:pt x="472" y="144"/>
                    </a:lnTo>
                    <a:lnTo>
                      <a:pt x="471" y="153"/>
                    </a:lnTo>
                    <a:lnTo>
                      <a:pt x="467" y="184"/>
                    </a:lnTo>
                    <a:lnTo>
                      <a:pt x="463" y="204"/>
                    </a:lnTo>
                    <a:lnTo>
                      <a:pt x="461" y="213"/>
                    </a:lnTo>
                    <a:lnTo>
                      <a:pt x="461" y="215"/>
                    </a:lnTo>
                    <a:lnTo>
                      <a:pt x="464" y="214"/>
                    </a:lnTo>
                    <a:lnTo>
                      <a:pt x="471" y="210"/>
                    </a:lnTo>
                    <a:lnTo>
                      <a:pt x="474" y="210"/>
                    </a:lnTo>
                    <a:lnTo>
                      <a:pt x="477" y="211"/>
                    </a:lnTo>
                    <a:lnTo>
                      <a:pt x="479" y="215"/>
                    </a:lnTo>
                    <a:lnTo>
                      <a:pt x="480" y="220"/>
                    </a:lnTo>
                    <a:lnTo>
                      <a:pt x="477" y="244"/>
                    </a:lnTo>
                    <a:lnTo>
                      <a:pt x="472" y="275"/>
                    </a:lnTo>
                    <a:lnTo>
                      <a:pt x="469" y="289"/>
                    </a:lnTo>
                    <a:lnTo>
                      <a:pt x="465" y="302"/>
                    </a:lnTo>
                    <a:lnTo>
                      <a:pt x="463" y="306"/>
                    </a:lnTo>
                    <a:lnTo>
                      <a:pt x="462" y="310"/>
                    </a:lnTo>
                    <a:lnTo>
                      <a:pt x="460" y="312"/>
                    </a:lnTo>
                    <a:lnTo>
                      <a:pt x="458" y="312"/>
                    </a:lnTo>
                    <a:lnTo>
                      <a:pt x="450" y="310"/>
                    </a:lnTo>
                    <a:lnTo>
                      <a:pt x="449" y="310"/>
                    </a:lnTo>
                    <a:lnTo>
                      <a:pt x="447" y="316"/>
                    </a:lnTo>
                    <a:lnTo>
                      <a:pt x="445" y="333"/>
                    </a:lnTo>
                    <a:lnTo>
                      <a:pt x="444" y="342"/>
                    </a:lnTo>
                    <a:lnTo>
                      <a:pt x="442" y="351"/>
                    </a:lnTo>
                    <a:lnTo>
                      <a:pt x="438" y="359"/>
                    </a:lnTo>
                    <a:lnTo>
                      <a:pt x="435" y="365"/>
                    </a:lnTo>
                    <a:lnTo>
                      <a:pt x="423" y="379"/>
                    </a:lnTo>
                    <a:lnTo>
                      <a:pt x="418" y="383"/>
                    </a:lnTo>
                    <a:lnTo>
                      <a:pt x="417" y="398"/>
                    </a:lnTo>
                    <a:lnTo>
                      <a:pt x="434" y="397"/>
                    </a:lnTo>
                    <a:lnTo>
                      <a:pt x="434" y="401"/>
                    </a:lnTo>
                    <a:lnTo>
                      <a:pt x="436" y="411"/>
                    </a:lnTo>
                    <a:lnTo>
                      <a:pt x="439" y="417"/>
                    </a:lnTo>
                    <a:lnTo>
                      <a:pt x="445" y="424"/>
                    </a:lnTo>
                    <a:lnTo>
                      <a:pt x="453" y="432"/>
                    </a:lnTo>
                    <a:lnTo>
                      <a:pt x="463" y="437"/>
                    </a:lnTo>
                    <a:lnTo>
                      <a:pt x="479" y="445"/>
                    </a:lnTo>
                    <a:lnTo>
                      <a:pt x="502" y="454"/>
                    </a:lnTo>
                    <a:lnTo>
                      <a:pt x="529" y="466"/>
                    </a:lnTo>
                    <a:lnTo>
                      <a:pt x="557" y="477"/>
                    </a:lnTo>
                    <a:lnTo>
                      <a:pt x="585" y="489"/>
                    </a:lnTo>
                    <a:lnTo>
                      <a:pt x="612" y="501"/>
                    </a:lnTo>
                    <a:lnTo>
                      <a:pt x="634" y="512"/>
                    </a:lnTo>
                    <a:lnTo>
                      <a:pt x="651" y="521"/>
                    </a:lnTo>
                    <a:lnTo>
                      <a:pt x="661" y="529"/>
                    </a:lnTo>
                    <a:lnTo>
                      <a:pt x="669" y="536"/>
                    </a:lnTo>
                    <a:lnTo>
                      <a:pt x="674" y="542"/>
                    </a:lnTo>
                    <a:lnTo>
                      <a:pt x="678" y="549"/>
                    </a:lnTo>
                    <a:lnTo>
                      <a:pt x="680" y="557"/>
                    </a:lnTo>
                    <a:lnTo>
                      <a:pt x="681" y="565"/>
                    </a:lnTo>
                    <a:lnTo>
                      <a:pt x="680" y="575"/>
                    </a:lnTo>
                    <a:lnTo>
                      <a:pt x="680" y="588"/>
                    </a:lnTo>
                    <a:lnTo>
                      <a:pt x="679" y="611"/>
                    </a:lnTo>
                    <a:lnTo>
                      <a:pt x="678" y="629"/>
                    </a:lnTo>
                    <a:lnTo>
                      <a:pt x="678" y="641"/>
                    </a:lnTo>
                    <a:lnTo>
                      <a:pt x="678" y="645"/>
                    </a:lnTo>
                    <a:lnTo>
                      <a:pt x="340" y="649"/>
                    </a:lnTo>
                    <a:lnTo>
                      <a:pt x="4" y="645"/>
                    </a:lnTo>
                    <a:lnTo>
                      <a:pt x="4" y="641"/>
                    </a:lnTo>
                    <a:lnTo>
                      <a:pt x="4" y="629"/>
                    </a:lnTo>
                    <a:lnTo>
                      <a:pt x="2" y="611"/>
                    </a:lnTo>
                    <a:lnTo>
                      <a:pt x="1" y="588"/>
                    </a:lnTo>
                    <a:lnTo>
                      <a:pt x="1" y="575"/>
                    </a:lnTo>
                    <a:lnTo>
                      <a:pt x="0" y="565"/>
                    </a:lnTo>
                    <a:lnTo>
                      <a:pt x="1" y="557"/>
                    </a:lnTo>
                    <a:lnTo>
                      <a:pt x="4" y="549"/>
                    </a:lnTo>
                    <a:lnTo>
                      <a:pt x="7" y="542"/>
                    </a:lnTo>
                    <a:lnTo>
                      <a:pt x="13" y="536"/>
                    </a:lnTo>
                    <a:lnTo>
                      <a:pt x="21" y="529"/>
                    </a:lnTo>
                    <a:lnTo>
                      <a:pt x="31" y="521"/>
                    </a:lnTo>
                    <a:lnTo>
                      <a:pt x="48" y="512"/>
                    </a:lnTo>
                    <a:lnTo>
                      <a:pt x="69" y="501"/>
                    </a:lnTo>
                    <a:lnTo>
                      <a:pt x="96" y="489"/>
                    </a:lnTo>
                    <a:lnTo>
                      <a:pt x="124" y="477"/>
                    </a:lnTo>
                    <a:lnTo>
                      <a:pt x="153" y="466"/>
                    </a:lnTo>
                    <a:lnTo>
                      <a:pt x="180" y="454"/>
                    </a:lnTo>
                    <a:lnTo>
                      <a:pt x="202" y="445"/>
                    </a:lnTo>
                    <a:lnTo>
                      <a:pt x="218" y="437"/>
                    </a:lnTo>
                    <a:lnTo>
                      <a:pt x="228" y="432"/>
                    </a:lnTo>
                    <a:lnTo>
                      <a:pt x="236" y="424"/>
                    </a:lnTo>
                    <a:lnTo>
                      <a:pt x="242" y="417"/>
                    </a:lnTo>
                    <a:lnTo>
                      <a:pt x="245" y="411"/>
                    </a:lnTo>
                    <a:lnTo>
                      <a:pt x="248" y="401"/>
                    </a:lnTo>
                    <a:lnTo>
                      <a:pt x="248" y="397"/>
                    </a:lnTo>
                    <a:lnTo>
                      <a:pt x="264" y="398"/>
                    </a:lnTo>
                    <a:lnTo>
                      <a:pt x="263" y="383"/>
                    </a:lnTo>
                    <a:lnTo>
                      <a:pt x="259" y="379"/>
                    </a:lnTo>
                    <a:lnTo>
                      <a:pt x="246" y="365"/>
                    </a:lnTo>
                    <a:lnTo>
                      <a:pt x="243" y="359"/>
                    </a:lnTo>
                    <a:lnTo>
                      <a:pt x="240" y="351"/>
                    </a:lnTo>
                    <a:lnTo>
                      <a:pt x="237" y="342"/>
                    </a:lnTo>
                    <a:lnTo>
                      <a:pt x="236" y="333"/>
                    </a:lnTo>
                    <a:lnTo>
                      <a:pt x="234" y="316"/>
                    </a:lnTo>
                    <a:lnTo>
                      <a:pt x="233" y="310"/>
                    </a:lnTo>
                    <a:lnTo>
                      <a:pt x="232" y="310"/>
                    </a:lnTo>
                    <a:lnTo>
                      <a:pt x="224" y="312"/>
                    </a:lnTo>
                    <a:lnTo>
                      <a:pt x="222" y="312"/>
                    </a:lnTo>
                    <a:lnTo>
                      <a:pt x="219" y="310"/>
                    </a:lnTo>
                    <a:lnTo>
                      <a:pt x="218" y="306"/>
                    </a:lnTo>
                    <a:lnTo>
                      <a:pt x="216" y="302"/>
                    </a:lnTo>
                    <a:lnTo>
                      <a:pt x="213" y="289"/>
                    </a:lnTo>
                    <a:lnTo>
                      <a:pt x="209" y="275"/>
                    </a:lnTo>
                    <a:lnTo>
                      <a:pt x="205" y="244"/>
                    </a:lnTo>
                    <a:lnTo>
                      <a:pt x="201" y="220"/>
                    </a:lnTo>
                    <a:lnTo>
                      <a:pt x="201" y="216"/>
                    </a:lnTo>
                    <a:lnTo>
                      <a:pt x="202" y="213"/>
                    </a:lnTo>
                    <a:lnTo>
                      <a:pt x="205" y="211"/>
                    </a:lnTo>
                    <a:lnTo>
                      <a:pt x="207" y="210"/>
                    </a:lnTo>
                    <a:lnTo>
                      <a:pt x="213" y="210"/>
                    </a:lnTo>
                    <a:lnTo>
                      <a:pt x="217" y="213"/>
                    </a:lnTo>
                    <a:lnTo>
                      <a:pt x="213" y="204"/>
                    </a:lnTo>
                    <a:lnTo>
                      <a:pt x="207" y="192"/>
                    </a:lnTo>
                    <a:lnTo>
                      <a:pt x="203" y="181"/>
                    </a:lnTo>
                    <a:lnTo>
                      <a:pt x="201" y="164"/>
                    </a:lnTo>
                    <a:lnTo>
                      <a:pt x="201" y="145"/>
                    </a:lnTo>
                    <a:lnTo>
                      <a:pt x="201" y="123"/>
                    </a:lnTo>
                    <a:lnTo>
                      <a:pt x="203" y="102"/>
                    </a:lnTo>
                    <a:lnTo>
                      <a:pt x="207" y="82"/>
                    </a:lnTo>
                    <a:lnTo>
                      <a:pt x="209" y="73"/>
                    </a:lnTo>
                    <a:lnTo>
                      <a:pt x="211" y="65"/>
                    </a:lnTo>
                    <a:lnTo>
                      <a:pt x="214" y="57"/>
                    </a:lnTo>
                    <a:lnTo>
                      <a:pt x="217" y="50"/>
                    </a:lnTo>
                    <a:lnTo>
                      <a:pt x="220" y="44"/>
                    </a:lnTo>
                    <a:lnTo>
                      <a:pt x="225" y="40"/>
                    </a:lnTo>
                    <a:lnTo>
                      <a:pt x="229" y="36"/>
                    </a:lnTo>
                    <a:lnTo>
                      <a:pt x="235" y="35"/>
                    </a:lnTo>
                    <a:lnTo>
                      <a:pt x="240" y="34"/>
                    </a:lnTo>
                    <a:lnTo>
                      <a:pt x="243" y="35"/>
                    </a:lnTo>
                    <a:lnTo>
                      <a:pt x="248" y="36"/>
                    </a:lnTo>
                    <a:lnTo>
                      <a:pt x="251" y="38"/>
                    </a:lnTo>
                    <a:lnTo>
                      <a:pt x="257" y="32"/>
                    </a:lnTo>
                    <a:lnTo>
                      <a:pt x="261" y="26"/>
                    </a:lnTo>
                    <a:lnTo>
                      <a:pt x="269" y="18"/>
                    </a:lnTo>
                    <a:lnTo>
                      <a:pt x="278" y="13"/>
                    </a:lnTo>
                    <a:lnTo>
                      <a:pt x="287" y="8"/>
                    </a:lnTo>
                    <a:lnTo>
                      <a:pt x="297" y="5"/>
                    </a:lnTo>
                    <a:lnTo>
                      <a:pt x="307" y="3"/>
                    </a:lnTo>
                    <a:lnTo>
                      <a:pt x="319" y="1"/>
                    </a:lnTo>
                    <a:lnTo>
                      <a:pt x="330" y="0"/>
                    </a:lnTo>
                    <a:lnTo>
                      <a:pt x="34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5" name="Freeform 236"/>
              <p:cNvSpPr>
                <a:spLocks/>
              </p:cNvSpPr>
              <p:nvPr/>
            </p:nvSpPr>
            <p:spPr bwMode="auto">
              <a:xfrm>
                <a:off x="658813" y="3871913"/>
                <a:ext cx="133350" cy="147638"/>
              </a:xfrm>
              <a:custGeom>
                <a:avLst/>
                <a:gdLst>
                  <a:gd name="T0" fmla="*/ 189 w 417"/>
                  <a:gd name="T1" fmla="*/ 1 h 466"/>
                  <a:gd name="T2" fmla="*/ 212 w 417"/>
                  <a:gd name="T3" fmla="*/ 5 h 466"/>
                  <a:gd name="T4" fmla="*/ 230 w 417"/>
                  <a:gd name="T5" fmla="*/ 18 h 466"/>
                  <a:gd name="T6" fmla="*/ 254 w 417"/>
                  <a:gd name="T7" fmla="*/ 50 h 466"/>
                  <a:gd name="T8" fmla="*/ 267 w 417"/>
                  <a:gd name="T9" fmla="*/ 83 h 466"/>
                  <a:gd name="T10" fmla="*/ 264 w 417"/>
                  <a:gd name="T11" fmla="*/ 133 h 466"/>
                  <a:gd name="T12" fmla="*/ 259 w 417"/>
                  <a:gd name="T13" fmla="*/ 154 h 466"/>
                  <a:gd name="T14" fmla="*/ 269 w 417"/>
                  <a:gd name="T15" fmla="*/ 151 h 466"/>
                  <a:gd name="T16" fmla="*/ 273 w 417"/>
                  <a:gd name="T17" fmla="*/ 159 h 466"/>
                  <a:gd name="T18" fmla="*/ 265 w 417"/>
                  <a:gd name="T19" fmla="*/ 209 h 466"/>
                  <a:gd name="T20" fmla="*/ 260 w 417"/>
                  <a:gd name="T21" fmla="*/ 223 h 466"/>
                  <a:gd name="T22" fmla="*/ 251 w 417"/>
                  <a:gd name="T23" fmla="*/ 223 h 466"/>
                  <a:gd name="T24" fmla="*/ 248 w 417"/>
                  <a:gd name="T25" fmla="*/ 240 h 466"/>
                  <a:gd name="T26" fmla="*/ 243 w 417"/>
                  <a:gd name="T27" fmla="*/ 259 h 466"/>
                  <a:gd name="T28" fmla="*/ 228 w 417"/>
                  <a:gd name="T29" fmla="*/ 275 h 466"/>
                  <a:gd name="T30" fmla="*/ 240 w 417"/>
                  <a:gd name="T31" fmla="*/ 289 h 466"/>
                  <a:gd name="T32" fmla="*/ 248 w 417"/>
                  <a:gd name="T33" fmla="*/ 306 h 466"/>
                  <a:gd name="T34" fmla="*/ 288 w 417"/>
                  <a:gd name="T35" fmla="*/ 327 h 466"/>
                  <a:gd name="T36" fmla="*/ 367 w 417"/>
                  <a:gd name="T37" fmla="*/ 361 h 466"/>
                  <a:gd name="T38" fmla="*/ 404 w 417"/>
                  <a:gd name="T39" fmla="*/ 380 h 466"/>
                  <a:gd name="T40" fmla="*/ 416 w 417"/>
                  <a:gd name="T41" fmla="*/ 395 h 466"/>
                  <a:gd name="T42" fmla="*/ 417 w 417"/>
                  <a:gd name="T43" fmla="*/ 414 h 466"/>
                  <a:gd name="T44" fmla="*/ 416 w 417"/>
                  <a:gd name="T45" fmla="*/ 454 h 466"/>
                  <a:gd name="T46" fmla="*/ 209 w 417"/>
                  <a:gd name="T47" fmla="*/ 466 h 466"/>
                  <a:gd name="T48" fmla="*/ 205 w 417"/>
                  <a:gd name="T49" fmla="*/ 452 h 466"/>
                  <a:gd name="T50" fmla="*/ 180 w 417"/>
                  <a:gd name="T51" fmla="*/ 430 h 466"/>
                  <a:gd name="T52" fmla="*/ 120 w 417"/>
                  <a:gd name="T53" fmla="*/ 401 h 466"/>
                  <a:gd name="T54" fmla="*/ 41 w 417"/>
                  <a:gd name="T55" fmla="*/ 368 h 466"/>
                  <a:gd name="T56" fmla="*/ 25 w 417"/>
                  <a:gd name="T57" fmla="*/ 340 h 466"/>
                  <a:gd name="T58" fmla="*/ 84 w 417"/>
                  <a:gd name="T59" fmla="*/ 315 h 466"/>
                  <a:gd name="T60" fmla="*/ 101 w 417"/>
                  <a:gd name="T61" fmla="*/ 300 h 466"/>
                  <a:gd name="T62" fmla="*/ 105 w 417"/>
                  <a:gd name="T63" fmla="*/ 285 h 466"/>
                  <a:gd name="T64" fmla="*/ 113 w 417"/>
                  <a:gd name="T65" fmla="*/ 272 h 466"/>
                  <a:gd name="T66" fmla="*/ 100 w 417"/>
                  <a:gd name="T67" fmla="*/ 254 h 466"/>
                  <a:gd name="T68" fmla="*/ 95 w 417"/>
                  <a:gd name="T69" fmla="*/ 228 h 466"/>
                  <a:gd name="T70" fmla="*/ 88 w 417"/>
                  <a:gd name="T71" fmla="*/ 224 h 466"/>
                  <a:gd name="T72" fmla="*/ 84 w 417"/>
                  <a:gd name="T73" fmla="*/ 221 h 466"/>
                  <a:gd name="T74" fmla="*/ 78 w 417"/>
                  <a:gd name="T75" fmla="*/ 198 h 466"/>
                  <a:gd name="T76" fmla="*/ 73 w 417"/>
                  <a:gd name="T77" fmla="*/ 155 h 466"/>
                  <a:gd name="T78" fmla="*/ 76 w 417"/>
                  <a:gd name="T79" fmla="*/ 151 h 466"/>
                  <a:gd name="T80" fmla="*/ 81 w 417"/>
                  <a:gd name="T81" fmla="*/ 146 h 466"/>
                  <a:gd name="T82" fmla="*/ 73 w 417"/>
                  <a:gd name="T83" fmla="*/ 118 h 466"/>
                  <a:gd name="T84" fmla="*/ 74 w 417"/>
                  <a:gd name="T85" fmla="*/ 73 h 466"/>
                  <a:gd name="T86" fmla="*/ 83 w 417"/>
                  <a:gd name="T87" fmla="*/ 36 h 466"/>
                  <a:gd name="T88" fmla="*/ 93 w 417"/>
                  <a:gd name="T89" fmla="*/ 26 h 466"/>
                  <a:gd name="T90" fmla="*/ 108 w 417"/>
                  <a:gd name="T91" fmla="*/ 27 h 466"/>
                  <a:gd name="T92" fmla="*/ 121 w 417"/>
                  <a:gd name="T93" fmla="*/ 13 h 466"/>
                  <a:gd name="T94" fmla="*/ 142 w 417"/>
                  <a:gd name="T95" fmla="*/ 3 h 466"/>
                  <a:gd name="T96" fmla="*/ 165 w 417"/>
                  <a:gd name="T97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7" h="466">
                    <a:moveTo>
                      <a:pt x="173" y="0"/>
                    </a:moveTo>
                    <a:lnTo>
                      <a:pt x="181" y="0"/>
                    </a:lnTo>
                    <a:lnTo>
                      <a:pt x="189" y="1"/>
                    </a:lnTo>
                    <a:lnTo>
                      <a:pt x="196" y="2"/>
                    </a:lnTo>
                    <a:lnTo>
                      <a:pt x="204" y="3"/>
                    </a:lnTo>
                    <a:lnTo>
                      <a:pt x="212" y="5"/>
                    </a:lnTo>
                    <a:lnTo>
                      <a:pt x="218" y="9"/>
                    </a:lnTo>
                    <a:lnTo>
                      <a:pt x="224" y="13"/>
                    </a:lnTo>
                    <a:lnTo>
                      <a:pt x="230" y="18"/>
                    </a:lnTo>
                    <a:lnTo>
                      <a:pt x="240" y="29"/>
                    </a:lnTo>
                    <a:lnTo>
                      <a:pt x="248" y="39"/>
                    </a:lnTo>
                    <a:lnTo>
                      <a:pt x="254" y="50"/>
                    </a:lnTo>
                    <a:lnTo>
                      <a:pt x="260" y="61"/>
                    </a:lnTo>
                    <a:lnTo>
                      <a:pt x="265" y="72"/>
                    </a:lnTo>
                    <a:lnTo>
                      <a:pt x="267" y="83"/>
                    </a:lnTo>
                    <a:lnTo>
                      <a:pt x="268" y="96"/>
                    </a:lnTo>
                    <a:lnTo>
                      <a:pt x="267" y="109"/>
                    </a:lnTo>
                    <a:lnTo>
                      <a:pt x="264" y="133"/>
                    </a:lnTo>
                    <a:lnTo>
                      <a:pt x="261" y="146"/>
                    </a:lnTo>
                    <a:lnTo>
                      <a:pt x="260" y="153"/>
                    </a:lnTo>
                    <a:lnTo>
                      <a:pt x="259" y="154"/>
                    </a:lnTo>
                    <a:lnTo>
                      <a:pt x="261" y="153"/>
                    </a:lnTo>
                    <a:lnTo>
                      <a:pt x="266" y="151"/>
                    </a:lnTo>
                    <a:lnTo>
                      <a:pt x="269" y="151"/>
                    </a:lnTo>
                    <a:lnTo>
                      <a:pt x="271" y="152"/>
                    </a:lnTo>
                    <a:lnTo>
                      <a:pt x="273" y="154"/>
                    </a:lnTo>
                    <a:lnTo>
                      <a:pt x="273" y="159"/>
                    </a:lnTo>
                    <a:lnTo>
                      <a:pt x="271" y="176"/>
                    </a:lnTo>
                    <a:lnTo>
                      <a:pt x="267" y="198"/>
                    </a:lnTo>
                    <a:lnTo>
                      <a:pt x="265" y="209"/>
                    </a:lnTo>
                    <a:lnTo>
                      <a:pt x="262" y="218"/>
                    </a:lnTo>
                    <a:lnTo>
                      <a:pt x="261" y="221"/>
                    </a:lnTo>
                    <a:lnTo>
                      <a:pt x="260" y="223"/>
                    </a:lnTo>
                    <a:lnTo>
                      <a:pt x="259" y="224"/>
                    </a:lnTo>
                    <a:lnTo>
                      <a:pt x="257" y="224"/>
                    </a:lnTo>
                    <a:lnTo>
                      <a:pt x="251" y="223"/>
                    </a:lnTo>
                    <a:lnTo>
                      <a:pt x="250" y="222"/>
                    </a:lnTo>
                    <a:lnTo>
                      <a:pt x="250" y="228"/>
                    </a:lnTo>
                    <a:lnTo>
                      <a:pt x="248" y="240"/>
                    </a:lnTo>
                    <a:lnTo>
                      <a:pt x="247" y="247"/>
                    </a:lnTo>
                    <a:lnTo>
                      <a:pt x="245" y="254"/>
                    </a:lnTo>
                    <a:lnTo>
                      <a:pt x="243" y="259"/>
                    </a:lnTo>
                    <a:lnTo>
                      <a:pt x="241" y="263"/>
                    </a:lnTo>
                    <a:lnTo>
                      <a:pt x="232" y="272"/>
                    </a:lnTo>
                    <a:lnTo>
                      <a:pt x="228" y="275"/>
                    </a:lnTo>
                    <a:lnTo>
                      <a:pt x="227" y="286"/>
                    </a:lnTo>
                    <a:lnTo>
                      <a:pt x="240" y="285"/>
                    </a:lnTo>
                    <a:lnTo>
                      <a:pt x="240" y="289"/>
                    </a:lnTo>
                    <a:lnTo>
                      <a:pt x="241" y="295"/>
                    </a:lnTo>
                    <a:lnTo>
                      <a:pt x="244" y="300"/>
                    </a:lnTo>
                    <a:lnTo>
                      <a:pt x="248" y="306"/>
                    </a:lnTo>
                    <a:lnTo>
                      <a:pt x="253" y="310"/>
                    </a:lnTo>
                    <a:lnTo>
                      <a:pt x="261" y="315"/>
                    </a:lnTo>
                    <a:lnTo>
                      <a:pt x="288" y="327"/>
                    </a:lnTo>
                    <a:lnTo>
                      <a:pt x="328" y="343"/>
                    </a:lnTo>
                    <a:lnTo>
                      <a:pt x="349" y="352"/>
                    </a:lnTo>
                    <a:lnTo>
                      <a:pt x="367" y="361"/>
                    </a:lnTo>
                    <a:lnTo>
                      <a:pt x="384" y="368"/>
                    </a:lnTo>
                    <a:lnTo>
                      <a:pt x="396" y="375"/>
                    </a:lnTo>
                    <a:lnTo>
                      <a:pt x="404" y="380"/>
                    </a:lnTo>
                    <a:lnTo>
                      <a:pt x="409" y="386"/>
                    </a:lnTo>
                    <a:lnTo>
                      <a:pt x="413" y="390"/>
                    </a:lnTo>
                    <a:lnTo>
                      <a:pt x="416" y="395"/>
                    </a:lnTo>
                    <a:lnTo>
                      <a:pt x="417" y="401"/>
                    </a:lnTo>
                    <a:lnTo>
                      <a:pt x="417" y="407"/>
                    </a:lnTo>
                    <a:lnTo>
                      <a:pt x="417" y="414"/>
                    </a:lnTo>
                    <a:lnTo>
                      <a:pt x="417" y="423"/>
                    </a:lnTo>
                    <a:lnTo>
                      <a:pt x="416" y="440"/>
                    </a:lnTo>
                    <a:lnTo>
                      <a:pt x="416" y="454"/>
                    </a:lnTo>
                    <a:lnTo>
                      <a:pt x="416" y="462"/>
                    </a:lnTo>
                    <a:lnTo>
                      <a:pt x="415" y="464"/>
                    </a:lnTo>
                    <a:lnTo>
                      <a:pt x="209" y="466"/>
                    </a:lnTo>
                    <a:lnTo>
                      <a:pt x="208" y="462"/>
                    </a:lnTo>
                    <a:lnTo>
                      <a:pt x="207" y="457"/>
                    </a:lnTo>
                    <a:lnTo>
                      <a:pt x="205" y="452"/>
                    </a:lnTo>
                    <a:lnTo>
                      <a:pt x="201" y="448"/>
                    </a:lnTo>
                    <a:lnTo>
                      <a:pt x="192" y="439"/>
                    </a:lnTo>
                    <a:lnTo>
                      <a:pt x="180" y="430"/>
                    </a:lnTo>
                    <a:lnTo>
                      <a:pt x="165" y="421"/>
                    </a:lnTo>
                    <a:lnTo>
                      <a:pt x="145" y="412"/>
                    </a:lnTo>
                    <a:lnTo>
                      <a:pt x="120" y="401"/>
                    </a:lnTo>
                    <a:lnTo>
                      <a:pt x="94" y="389"/>
                    </a:lnTo>
                    <a:lnTo>
                      <a:pt x="67" y="378"/>
                    </a:lnTo>
                    <a:lnTo>
                      <a:pt x="41" y="368"/>
                    </a:lnTo>
                    <a:lnTo>
                      <a:pt x="18" y="359"/>
                    </a:lnTo>
                    <a:lnTo>
                      <a:pt x="0" y="351"/>
                    </a:lnTo>
                    <a:lnTo>
                      <a:pt x="25" y="340"/>
                    </a:lnTo>
                    <a:lnTo>
                      <a:pt x="49" y="331"/>
                    </a:lnTo>
                    <a:lnTo>
                      <a:pt x="69" y="321"/>
                    </a:lnTo>
                    <a:lnTo>
                      <a:pt x="84" y="315"/>
                    </a:lnTo>
                    <a:lnTo>
                      <a:pt x="92" y="310"/>
                    </a:lnTo>
                    <a:lnTo>
                      <a:pt x="98" y="306"/>
                    </a:lnTo>
                    <a:lnTo>
                      <a:pt x="101" y="300"/>
                    </a:lnTo>
                    <a:lnTo>
                      <a:pt x="104" y="295"/>
                    </a:lnTo>
                    <a:lnTo>
                      <a:pt x="105" y="289"/>
                    </a:lnTo>
                    <a:lnTo>
                      <a:pt x="105" y="285"/>
                    </a:lnTo>
                    <a:lnTo>
                      <a:pt x="118" y="286"/>
                    </a:lnTo>
                    <a:lnTo>
                      <a:pt x="117" y="275"/>
                    </a:lnTo>
                    <a:lnTo>
                      <a:pt x="113" y="272"/>
                    </a:lnTo>
                    <a:lnTo>
                      <a:pt x="105" y="263"/>
                    </a:lnTo>
                    <a:lnTo>
                      <a:pt x="102" y="259"/>
                    </a:lnTo>
                    <a:lnTo>
                      <a:pt x="100" y="254"/>
                    </a:lnTo>
                    <a:lnTo>
                      <a:pt x="99" y="247"/>
                    </a:lnTo>
                    <a:lnTo>
                      <a:pt x="98" y="240"/>
                    </a:lnTo>
                    <a:lnTo>
                      <a:pt x="95" y="228"/>
                    </a:lnTo>
                    <a:lnTo>
                      <a:pt x="95" y="222"/>
                    </a:lnTo>
                    <a:lnTo>
                      <a:pt x="94" y="223"/>
                    </a:lnTo>
                    <a:lnTo>
                      <a:pt x="88" y="224"/>
                    </a:lnTo>
                    <a:lnTo>
                      <a:pt x="87" y="224"/>
                    </a:lnTo>
                    <a:lnTo>
                      <a:pt x="85" y="223"/>
                    </a:lnTo>
                    <a:lnTo>
                      <a:pt x="84" y="221"/>
                    </a:lnTo>
                    <a:lnTo>
                      <a:pt x="83" y="218"/>
                    </a:lnTo>
                    <a:lnTo>
                      <a:pt x="81" y="209"/>
                    </a:lnTo>
                    <a:lnTo>
                      <a:pt x="78" y="198"/>
                    </a:lnTo>
                    <a:lnTo>
                      <a:pt x="74" y="176"/>
                    </a:lnTo>
                    <a:lnTo>
                      <a:pt x="73" y="159"/>
                    </a:lnTo>
                    <a:lnTo>
                      <a:pt x="73" y="155"/>
                    </a:lnTo>
                    <a:lnTo>
                      <a:pt x="74" y="153"/>
                    </a:lnTo>
                    <a:lnTo>
                      <a:pt x="75" y="152"/>
                    </a:lnTo>
                    <a:lnTo>
                      <a:pt x="76" y="151"/>
                    </a:lnTo>
                    <a:lnTo>
                      <a:pt x="79" y="151"/>
                    </a:lnTo>
                    <a:lnTo>
                      <a:pt x="84" y="153"/>
                    </a:lnTo>
                    <a:lnTo>
                      <a:pt x="81" y="146"/>
                    </a:lnTo>
                    <a:lnTo>
                      <a:pt x="76" y="139"/>
                    </a:lnTo>
                    <a:lnTo>
                      <a:pt x="74" y="129"/>
                    </a:lnTo>
                    <a:lnTo>
                      <a:pt x="73" y="118"/>
                    </a:lnTo>
                    <a:lnTo>
                      <a:pt x="72" y="105"/>
                    </a:lnTo>
                    <a:lnTo>
                      <a:pt x="73" y="89"/>
                    </a:lnTo>
                    <a:lnTo>
                      <a:pt x="74" y="73"/>
                    </a:lnTo>
                    <a:lnTo>
                      <a:pt x="76" y="58"/>
                    </a:lnTo>
                    <a:lnTo>
                      <a:pt x="79" y="46"/>
                    </a:lnTo>
                    <a:lnTo>
                      <a:pt x="83" y="36"/>
                    </a:lnTo>
                    <a:lnTo>
                      <a:pt x="86" y="31"/>
                    </a:lnTo>
                    <a:lnTo>
                      <a:pt x="90" y="28"/>
                    </a:lnTo>
                    <a:lnTo>
                      <a:pt x="93" y="26"/>
                    </a:lnTo>
                    <a:lnTo>
                      <a:pt x="96" y="24"/>
                    </a:lnTo>
                    <a:lnTo>
                      <a:pt x="102" y="24"/>
                    </a:lnTo>
                    <a:lnTo>
                      <a:pt x="108" y="27"/>
                    </a:lnTo>
                    <a:lnTo>
                      <a:pt x="112" y="22"/>
                    </a:lnTo>
                    <a:lnTo>
                      <a:pt x="116" y="18"/>
                    </a:lnTo>
                    <a:lnTo>
                      <a:pt x="121" y="13"/>
                    </a:lnTo>
                    <a:lnTo>
                      <a:pt x="128" y="9"/>
                    </a:lnTo>
                    <a:lnTo>
                      <a:pt x="135" y="5"/>
                    </a:lnTo>
                    <a:lnTo>
                      <a:pt x="142" y="3"/>
                    </a:lnTo>
                    <a:lnTo>
                      <a:pt x="149" y="2"/>
                    </a:lnTo>
                    <a:lnTo>
                      <a:pt x="157" y="1"/>
                    </a:lnTo>
                    <a:lnTo>
                      <a:pt x="165" y="0"/>
                    </a:lnTo>
                    <a:lnTo>
                      <a:pt x="173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6" name="Freeform 237"/>
              <p:cNvSpPr>
                <a:spLocks/>
              </p:cNvSpPr>
              <p:nvPr/>
            </p:nvSpPr>
            <p:spPr bwMode="auto">
              <a:xfrm>
                <a:off x="412750" y="3871913"/>
                <a:ext cx="131763" cy="147638"/>
              </a:xfrm>
              <a:custGeom>
                <a:avLst/>
                <a:gdLst>
                  <a:gd name="T0" fmla="*/ 230 w 417"/>
                  <a:gd name="T1" fmla="*/ 1 h 466"/>
                  <a:gd name="T2" fmla="*/ 207 w 417"/>
                  <a:gd name="T3" fmla="*/ 5 h 466"/>
                  <a:gd name="T4" fmla="*/ 188 w 417"/>
                  <a:gd name="T5" fmla="*/ 18 h 466"/>
                  <a:gd name="T6" fmla="*/ 163 w 417"/>
                  <a:gd name="T7" fmla="*/ 50 h 466"/>
                  <a:gd name="T8" fmla="*/ 151 w 417"/>
                  <a:gd name="T9" fmla="*/ 83 h 466"/>
                  <a:gd name="T10" fmla="*/ 154 w 417"/>
                  <a:gd name="T11" fmla="*/ 133 h 466"/>
                  <a:gd name="T12" fmla="*/ 159 w 417"/>
                  <a:gd name="T13" fmla="*/ 154 h 466"/>
                  <a:gd name="T14" fmla="*/ 150 w 417"/>
                  <a:gd name="T15" fmla="*/ 151 h 466"/>
                  <a:gd name="T16" fmla="*/ 145 w 417"/>
                  <a:gd name="T17" fmla="*/ 159 h 466"/>
                  <a:gd name="T18" fmla="*/ 153 w 417"/>
                  <a:gd name="T19" fmla="*/ 209 h 466"/>
                  <a:gd name="T20" fmla="*/ 159 w 417"/>
                  <a:gd name="T21" fmla="*/ 223 h 466"/>
                  <a:gd name="T22" fmla="*/ 166 w 417"/>
                  <a:gd name="T23" fmla="*/ 223 h 466"/>
                  <a:gd name="T24" fmla="*/ 170 w 417"/>
                  <a:gd name="T25" fmla="*/ 240 h 466"/>
                  <a:gd name="T26" fmla="*/ 176 w 417"/>
                  <a:gd name="T27" fmla="*/ 259 h 466"/>
                  <a:gd name="T28" fmla="*/ 189 w 417"/>
                  <a:gd name="T29" fmla="*/ 275 h 466"/>
                  <a:gd name="T30" fmla="*/ 179 w 417"/>
                  <a:gd name="T31" fmla="*/ 289 h 466"/>
                  <a:gd name="T32" fmla="*/ 170 w 417"/>
                  <a:gd name="T33" fmla="*/ 306 h 466"/>
                  <a:gd name="T34" fmla="*/ 129 w 417"/>
                  <a:gd name="T35" fmla="*/ 327 h 466"/>
                  <a:gd name="T36" fmla="*/ 50 w 417"/>
                  <a:gd name="T37" fmla="*/ 361 h 466"/>
                  <a:gd name="T38" fmla="*/ 15 w 417"/>
                  <a:gd name="T39" fmla="*/ 380 h 466"/>
                  <a:gd name="T40" fmla="*/ 3 w 417"/>
                  <a:gd name="T41" fmla="*/ 395 h 466"/>
                  <a:gd name="T42" fmla="*/ 0 w 417"/>
                  <a:gd name="T43" fmla="*/ 414 h 466"/>
                  <a:gd name="T44" fmla="*/ 3 w 417"/>
                  <a:gd name="T45" fmla="*/ 454 h 466"/>
                  <a:gd name="T46" fmla="*/ 208 w 417"/>
                  <a:gd name="T47" fmla="*/ 466 h 466"/>
                  <a:gd name="T48" fmla="*/ 214 w 417"/>
                  <a:gd name="T49" fmla="*/ 452 h 466"/>
                  <a:gd name="T50" fmla="*/ 239 w 417"/>
                  <a:gd name="T51" fmla="*/ 430 h 466"/>
                  <a:gd name="T52" fmla="*/ 297 w 417"/>
                  <a:gd name="T53" fmla="*/ 401 h 466"/>
                  <a:gd name="T54" fmla="*/ 377 w 417"/>
                  <a:gd name="T55" fmla="*/ 368 h 466"/>
                  <a:gd name="T56" fmla="*/ 392 w 417"/>
                  <a:gd name="T57" fmla="*/ 340 h 466"/>
                  <a:gd name="T58" fmla="*/ 334 w 417"/>
                  <a:gd name="T59" fmla="*/ 315 h 466"/>
                  <a:gd name="T60" fmla="*/ 317 w 417"/>
                  <a:gd name="T61" fmla="*/ 300 h 466"/>
                  <a:gd name="T62" fmla="*/ 312 w 417"/>
                  <a:gd name="T63" fmla="*/ 285 h 466"/>
                  <a:gd name="T64" fmla="*/ 304 w 417"/>
                  <a:gd name="T65" fmla="*/ 272 h 466"/>
                  <a:gd name="T66" fmla="*/ 318 w 417"/>
                  <a:gd name="T67" fmla="*/ 254 h 466"/>
                  <a:gd name="T68" fmla="*/ 322 w 417"/>
                  <a:gd name="T69" fmla="*/ 228 h 466"/>
                  <a:gd name="T70" fmla="*/ 330 w 417"/>
                  <a:gd name="T71" fmla="*/ 224 h 466"/>
                  <a:gd name="T72" fmla="*/ 334 w 417"/>
                  <a:gd name="T73" fmla="*/ 221 h 466"/>
                  <a:gd name="T74" fmla="*/ 340 w 417"/>
                  <a:gd name="T75" fmla="*/ 198 h 466"/>
                  <a:gd name="T76" fmla="*/ 346 w 417"/>
                  <a:gd name="T77" fmla="*/ 155 h 466"/>
                  <a:gd name="T78" fmla="*/ 342 w 417"/>
                  <a:gd name="T79" fmla="*/ 151 h 466"/>
                  <a:gd name="T80" fmla="*/ 338 w 417"/>
                  <a:gd name="T81" fmla="*/ 146 h 466"/>
                  <a:gd name="T82" fmla="*/ 346 w 417"/>
                  <a:gd name="T83" fmla="*/ 118 h 466"/>
                  <a:gd name="T84" fmla="*/ 344 w 417"/>
                  <a:gd name="T85" fmla="*/ 73 h 466"/>
                  <a:gd name="T86" fmla="*/ 335 w 417"/>
                  <a:gd name="T87" fmla="*/ 36 h 466"/>
                  <a:gd name="T88" fmla="*/ 326 w 417"/>
                  <a:gd name="T89" fmla="*/ 26 h 466"/>
                  <a:gd name="T90" fmla="*/ 310 w 417"/>
                  <a:gd name="T91" fmla="*/ 27 h 466"/>
                  <a:gd name="T92" fmla="*/ 296 w 417"/>
                  <a:gd name="T93" fmla="*/ 13 h 466"/>
                  <a:gd name="T94" fmla="*/ 277 w 417"/>
                  <a:gd name="T95" fmla="*/ 3 h 466"/>
                  <a:gd name="T96" fmla="*/ 253 w 417"/>
                  <a:gd name="T97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7" h="466">
                    <a:moveTo>
                      <a:pt x="246" y="0"/>
                    </a:moveTo>
                    <a:lnTo>
                      <a:pt x="238" y="0"/>
                    </a:lnTo>
                    <a:lnTo>
                      <a:pt x="230" y="1"/>
                    </a:lnTo>
                    <a:lnTo>
                      <a:pt x="222" y="2"/>
                    </a:lnTo>
                    <a:lnTo>
                      <a:pt x="214" y="3"/>
                    </a:lnTo>
                    <a:lnTo>
                      <a:pt x="207" y="5"/>
                    </a:lnTo>
                    <a:lnTo>
                      <a:pt x="200" y="9"/>
                    </a:lnTo>
                    <a:lnTo>
                      <a:pt x="194" y="13"/>
                    </a:lnTo>
                    <a:lnTo>
                      <a:pt x="188" y="18"/>
                    </a:lnTo>
                    <a:lnTo>
                      <a:pt x="179" y="29"/>
                    </a:lnTo>
                    <a:lnTo>
                      <a:pt x="170" y="39"/>
                    </a:lnTo>
                    <a:lnTo>
                      <a:pt x="163" y="50"/>
                    </a:lnTo>
                    <a:lnTo>
                      <a:pt x="157" y="61"/>
                    </a:lnTo>
                    <a:lnTo>
                      <a:pt x="154" y="72"/>
                    </a:lnTo>
                    <a:lnTo>
                      <a:pt x="151" y="83"/>
                    </a:lnTo>
                    <a:lnTo>
                      <a:pt x="151" y="96"/>
                    </a:lnTo>
                    <a:lnTo>
                      <a:pt x="151" y="109"/>
                    </a:lnTo>
                    <a:lnTo>
                      <a:pt x="154" y="133"/>
                    </a:lnTo>
                    <a:lnTo>
                      <a:pt x="157" y="146"/>
                    </a:lnTo>
                    <a:lnTo>
                      <a:pt x="159" y="153"/>
                    </a:lnTo>
                    <a:lnTo>
                      <a:pt x="159" y="154"/>
                    </a:lnTo>
                    <a:lnTo>
                      <a:pt x="156" y="153"/>
                    </a:lnTo>
                    <a:lnTo>
                      <a:pt x="152" y="151"/>
                    </a:lnTo>
                    <a:lnTo>
                      <a:pt x="150" y="151"/>
                    </a:lnTo>
                    <a:lnTo>
                      <a:pt x="147" y="152"/>
                    </a:lnTo>
                    <a:lnTo>
                      <a:pt x="145" y="154"/>
                    </a:lnTo>
                    <a:lnTo>
                      <a:pt x="145" y="159"/>
                    </a:lnTo>
                    <a:lnTo>
                      <a:pt x="147" y="176"/>
                    </a:lnTo>
                    <a:lnTo>
                      <a:pt x="151" y="198"/>
                    </a:lnTo>
                    <a:lnTo>
                      <a:pt x="153" y="209"/>
                    </a:lnTo>
                    <a:lnTo>
                      <a:pt x="155" y="218"/>
                    </a:lnTo>
                    <a:lnTo>
                      <a:pt x="157" y="221"/>
                    </a:lnTo>
                    <a:lnTo>
                      <a:pt x="159" y="223"/>
                    </a:lnTo>
                    <a:lnTo>
                      <a:pt x="160" y="224"/>
                    </a:lnTo>
                    <a:lnTo>
                      <a:pt x="161" y="224"/>
                    </a:lnTo>
                    <a:lnTo>
                      <a:pt x="166" y="223"/>
                    </a:lnTo>
                    <a:lnTo>
                      <a:pt x="168" y="222"/>
                    </a:lnTo>
                    <a:lnTo>
                      <a:pt x="169" y="228"/>
                    </a:lnTo>
                    <a:lnTo>
                      <a:pt x="170" y="240"/>
                    </a:lnTo>
                    <a:lnTo>
                      <a:pt x="171" y="247"/>
                    </a:lnTo>
                    <a:lnTo>
                      <a:pt x="173" y="254"/>
                    </a:lnTo>
                    <a:lnTo>
                      <a:pt x="176" y="259"/>
                    </a:lnTo>
                    <a:lnTo>
                      <a:pt x="178" y="263"/>
                    </a:lnTo>
                    <a:lnTo>
                      <a:pt x="187" y="272"/>
                    </a:lnTo>
                    <a:lnTo>
                      <a:pt x="189" y="275"/>
                    </a:lnTo>
                    <a:lnTo>
                      <a:pt x="190" y="286"/>
                    </a:lnTo>
                    <a:lnTo>
                      <a:pt x="179" y="285"/>
                    </a:lnTo>
                    <a:lnTo>
                      <a:pt x="179" y="289"/>
                    </a:lnTo>
                    <a:lnTo>
                      <a:pt x="177" y="295"/>
                    </a:lnTo>
                    <a:lnTo>
                      <a:pt x="174" y="300"/>
                    </a:lnTo>
                    <a:lnTo>
                      <a:pt x="170" y="306"/>
                    </a:lnTo>
                    <a:lnTo>
                      <a:pt x="164" y="310"/>
                    </a:lnTo>
                    <a:lnTo>
                      <a:pt x="157" y="315"/>
                    </a:lnTo>
                    <a:lnTo>
                      <a:pt x="129" y="327"/>
                    </a:lnTo>
                    <a:lnTo>
                      <a:pt x="90" y="343"/>
                    </a:lnTo>
                    <a:lnTo>
                      <a:pt x="69" y="352"/>
                    </a:lnTo>
                    <a:lnTo>
                      <a:pt x="50" y="361"/>
                    </a:lnTo>
                    <a:lnTo>
                      <a:pt x="34" y="368"/>
                    </a:lnTo>
                    <a:lnTo>
                      <a:pt x="22" y="375"/>
                    </a:lnTo>
                    <a:lnTo>
                      <a:pt x="15" y="380"/>
                    </a:lnTo>
                    <a:lnTo>
                      <a:pt x="10" y="386"/>
                    </a:lnTo>
                    <a:lnTo>
                      <a:pt x="5" y="390"/>
                    </a:lnTo>
                    <a:lnTo>
                      <a:pt x="3" y="395"/>
                    </a:lnTo>
                    <a:lnTo>
                      <a:pt x="2" y="401"/>
                    </a:lnTo>
                    <a:lnTo>
                      <a:pt x="0" y="407"/>
                    </a:lnTo>
                    <a:lnTo>
                      <a:pt x="0" y="414"/>
                    </a:lnTo>
                    <a:lnTo>
                      <a:pt x="0" y="423"/>
                    </a:lnTo>
                    <a:lnTo>
                      <a:pt x="2" y="440"/>
                    </a:lnTo>
                    <a:lnTo>
                      <a:pt x="3" y="454"/>
                    </a:lnTo>
                    <a:lnTo>
                      <a:pt x="3" y="462"/>
                    </a:lnTo>
                    <a:lnTo>
                      <a:pt x="3" y="464"/>
                    </a:lnTo>
                    <a:lnTo>
                      <a:pt x="208" y="466"/>
                    </a:lnTo>
                    <a:lnTo>
                      <a:pt x="209" y="462"/>
                    </a:lnTo>
                    <a:lnTo>
                      <a:pt x="212" y="457"/>
                    </a:lnTo>
                    <a:lnTo>
                      <a:pt x="214" y="452"/>
                    </a:lnTo>
                    <a:lnTo>
                      <a:pt x="216" y="448"/>
                    </a:lnTo>
                    <a:lnTo>
                      <a:pt x="225" y="439"/>
                    </a:lnTo>
                    <a:lnTo>
                      <a:pt x="239" y="430"/>
                    </a:lnTo>
                    <a:lnTo>
                      <a:pt x="253" y="421"/>
                    </a:lnTo>
                    <a:lnTo>
                      <a:pt x="274" y="412"/>
                    </a:lnTo>
                    <a:lnTo>
                      <a:pt x="297" y="401"/>
                    </a:lnTo>
                    <a:lnTo>
                      <a:pt x="325" y="389"/>
                    </a:lnTo>
                    <a:lnTo>
                      <a:pt x="351" y="378"/>
                    </a:lnTo>
                    <a:lnTo>
                      <a:pt x="377" y="368"/>
                    </a:lnTo>
                    <a:lnTo>
                      <a:pt x="399" y="359"/>
                    </a:lnTo>
                    <a:lnTo>
                      <a:pt x="417" y="351"/>
                    </a:lnTo>
                    <a:lnTo>
                      <a:pt x="392" y="340"/>
                    </a:lnTo>
                    <a:lnTo>
                      <a:pt x="369" y="331"/>
                    </a:lnTo>
                    <a:lnTo>
                      <a:pt x="348" y="321"/>
                    </a:lnTo>
                    <a:lnTo>
                      <a:pt x="334" y="315"/>
                    </a:lnTo>
                    <a:lnTo>
                      <a:pt x="326" y="310"/>
                    </a:lnTo>
                    <a:lnTo>
                      <a:pt x="320" y="306"/>
                    </a:lnTo>
                    <a:lnTo>
                      <a:pt x="317" y="300"/>
                    </a:lnTo>
                    <a:lnTo>
                      <a:pt x="314" y="295"/>
                    </a:lnTo>
                    <a:lnTo>
                      <a:pt x="312" y="289"/>
                    </a:lnTo>
                    <a:lnTo>
                      <a:pt x="312" y="285"/>
                    </a:lnTo>
                    <a:lnTo>
                      <a:pt x="301" y="286"/>
                    </a:lnTo>
                    <a:lnTo>
                      <a:pt x="302" y="275"/>
                    </a:lnTo>
                    <a:lnTo>
                      <a:pt x="304" y="272"/>
                    </a:lnTo>
                    <a:lnTo>
                      <a:pt x="313" y="263"/>
                    </a:lnTo>
                    <a:lnTo>
                      <a:pt x="316" y="259"/>
                    </a:lnTo>
                    <a:lnTo>
                      <a:pt x="318" y="254"/>
                    </a:lnTo>
                    <a:lnTo>
                      <a:pt x="320" y="247"/>
                    </a:lnTo>
                    <a:lnTo>
                      <a:pt x="321" y="240"/>
                    </a:lnTo>
                    <a:lnTo>
                      <a:pt x="322" y="228"/>
                    </a:lnTo>
                    <a:lnTo>
                      <a:pt x="323" y="222"/>
                    </a:lnTo>
                    <a:lnTo>
                      <a:pt x="323" y="223"/>
                    </a:lnTo>
                    <a:lnTo>
                      <a:pt x="330" y="224"/>
                    </a:lnTo>
                    <a:lnTo>
                      <a:pt x="331" y="224"/>
                    </a:lnTo>
                    <a:lnTo>
                      <a:pt x="332" y="223"/>
                    </a:lnTo>
                    <a:lnTo>
                      <a:pt x="334" y="221"/>
                    </a:lnTo>
                    <a:lnTo>
                      <a:pt x="335" y="218"/>
                    </a:lnTo>
                    <a:lnTo>
                      <a:pt x="338" y="209"/>
                    </a:lnTo>
                    <a:lnTo>
                      <a:pt x="340" y="198"/>
                    </a:lnTo>
                    <a:lnTo>
                      <a:pt x="344" y="176"/>
                    </a:lnTo>
                    <a:lnTo>
                      <a:pt x="346" y="159"/>
                    </a:lnTo>
                    <a:lnTo>
                      <a:pt x="346" y="155"/>
                    </a:lnTo>
                    <a:lnTo>
                      <a:pt x="345" y="153"/>
                    </a:lnTo>
                    <a:lnTo>
                      <a:pt x="344" y="152"/>
                    </a:lnTo>
                    <a:lnTo>
                      <a:pt x="342" y="151"/>
                    </a:lnTo>
                    <a:lnTo>
                      <a:pt x="338" y="151"/>
                    </a:lnTo>
                    <a:lnTo>
                      <a:pt x="335" y="153"/>
                    </a:lnTo>
                    <a:lnTo>
                      <a:pt x="338" y="146"/>
                    </a:lnTo>
                    <a:lnTo>
                      <a:pt x="342" y="139"/>
                    </a:lnTo>
                    <a:lnTo>
                      <a:pt x="344" y="129"/>
                    </a:lnTo>
                    <a:lnTo>
                      <a:pt x="346" y="118"/>
                    </a:lnTo>
                    <a:lnTo>
                      <a:pt x="346" y="105"/>
                    </a:lnTo>
                    <a:lnTo>
                      <a:pt x="346" y="89"/>
                    </a:lnTo>
                    <a:lnTo>
                      <a:pt x="344" y="73"/>
                    </a:lnTo>
                    <a:lnTo>
                      <a:pt x="342" y="58"/>
                    </a:lnTo>
                    <a:lnTo>
                      <a:pt x="339" y="46"/>
                    </a:lnTo>
                    <a:lnTo>
                      <a:pt x="335" y="36"/>
                    </a:lnTo>
                    <a:lnTo>
                      <a:pt x="331" y="31"/>
                    </a:lnTo>
                    <a:lnTo>
                      <a:pt x="329" y="28"/>
                    </a:lnTo>
                    <a:lnTo>
                      <a:pt x="326" y="26"/>
                    </a:lnTo>
                    <a:lnTo>
                      <a:pt x="322" y="24"/>
                    </a:lnTo>
                    <a:lnTo>
                      <a:pt x="316" y="24"/>
                    </a:lnTo>
                    <a:lnTo>
                      <a:pt x="310" y="27"/>
                    </a:lnTo>
                    <a:lnTo>
                      <a:pt x="307" y="22"/>
                    </a:lnTo>
                    <a:lnTo>
                      <a:pt x="302" y="18"/>
                    </a:lnTo>
                    <a:lnTo>
                      <a:pt x="296" y="13"/>
                    </a:lnTo>
                    <a:lnTo>
                      <a:pt x="291" y="9"/>
                    </a:lnTo>
                    <a:lnTo>
                      <a:pt x="284" y="5"/>
                    </a:lnTo>
                    <a:lnTo>
                      <a:pt x="277" y="3"/>
                    </a:lnTo>
                    <a:lnTo>
                      <a:pt x="269" y="2"/>
                    </a:lnTo>
                    <a:lnTo>
                      <a:pt x="261" y="1"/>
                    </a:lnTo>
                    <a:lnTo>
                      <a:pt x="253" y="0"/>
                    </a:lnTo>
                    <a:lnTo>
                      <a:pt x="246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7" name="Group 106"/>
          <p:cNvGrpSpPr/>
          <p:nvPr/>
        </p:nvGrpSpPr>
        <p:grpSpPr>
          <a:xfrm>
            <a:off x="3184754" y="2767878"/>
            <a:ext cx="889000" cy="889000"/>
            <a:chOff x="6346371" y="3585029"/>
            <a:chExt cx="889000" cy="889000"/>
          </a:xfrm>
        </p:grpSpPr>
        <p:sp>
          <p:nvSpPr>
            <p:cNvPr id="108" name="Oval 107"/>
            <p:cNvSpPr/>
            <p:nvPr/>
          </p:nvSpPr>
          <p:spPr>
            <a:xfrm>
              <a:off x="6346371" y="3585029"/>
              <a:ext cx="889000" cy="889000"/>
            </a:xfrm>
            <a:prstGeom prst="ellipse">
              <a:avLst/>
            </a:pr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endParaRPr lang="en-US" sz="12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9" name="Freeform 167"/>
            <p:cNvSpPr>
              <a:spLocks noEditPoints="1"/>
            </p:cNvSpPr>
            <p:nvPr/>
          </p:nvSpPr>
          <p:spPr bwMode="auto">
            <a:xfrm>
              <a:off x="6638646" y="3765532"/>
              <a:ext cx="304450" cy="491351"/>
            </a:xfrm>
            <a:custGeom>
              <a:avLst/>
              <a:gdLst>
                <a:gd name="T0" fmla="*/ 1062 w 1298"/>
                <a:gd name="T1" fmla="*/ 148 h 2092"/>
                <a:gd name="T2" fmla="*/ 1291 w 1298"/>
                <a:gd name="T3" fmla="*/ 550 h 2092"/>
                <a:gd name="T4" fmla="*/ 1237 w 1298"/>
                <a:gd name="T5" fmla="*/ 978 h 2092"/>
                <a:gd name="T6" fmla="*/ 1018 w 1298"/>
                <a:gd name="T7" fmla="*/ 1381 h 2092"/>
                <a:gd name="T8" fmla="*/ 758 w 1298"/>
                <a:gd name="T9" fmla="*/ 1648 h 2092"/>
                <a:gd name="T10" fmla="*/ 554 w 1298"/>
                <a:gd name="T11" fmla="*/ 1593 h 2092"/>
                <a:gd name="T12" fmla="*/ 433 w 1298"/>
                <a:gd name="T13" fmla="*/ 1537 h 2092"/>
                <a:gd name="T14" fmla="*/ 244 w 1298"/>
                <a:gd name="T15" fmla="*/ 1335 h 2092"/>
                <a:gd name="T16" fmla="*/ 43 w 1298"/>
                <a:gd name="T17" fmla="*/ 920 h 2092"/>
                <a:gd name="T18" fmla="*/ 21 w 1298"/>
                <a:gd name="T19" fmla="*/ 487 h 2092"/>
                <a:gd name="T20" fmla="*/ 286 w 1298"/>
                <a:gd name="T21" fmla="*/ 111 h 2092"/>
                <a:gd name="T22" fmla="*/ 139 w 1298"/>
                <a:gd name="T23" fmla="*/ 848 h 2092"/>
                <a:gd name="T24" fmla="*/ 146 w 1298"/>
                <a:gd name="T25" fmla="*/ 815 h 2092"/>
                <a:gd name="T26" fmla="*/ 176 w 1298"/>
                <a:gd name="T27" fmla="*/ 796 h 2092"/>
                <a:gd name="T28" fmla="*/ 210 w 1298"/>
                <a:gd name="T29" fmla="*/ 802 h 2092"/>
                <a:gd name="T30" fmla="*/ 231 w 1298"/>
                <a:gd name="T31" fmla="*/ 828 h 2092"/>
                <a:gd name="T32" fmla="*/ 264 w 1298"/>
                <a:gd name="T33" fmla="*/ 920 h 2092"/>
                <a:gd name="T34" fmla="*/ 280 w 1298"/>
                <a:gd name="T35" fmla="*/ 964 h 2092"/>
                <a:gd name="T36" fmla="*/ 266 w 1298"/>
                <a:gd name="T37" fmla="*/ 995 h 2092"/>
                <a:gd name="T38" fmla="*/ 235 w 1298"/>
                <a:gd name="T39" fmla="*/ 1010 h 2092"/>
                <a:gd name="T40" fmla="*/ 202 w 1298"/>
                <a:gd name="T41" fmla="*/ 998 h 2092"/>
                <a:gd name="T42" fmla="*/ 161 w 1298"/>
                <a:gd name="T43" fmla="*/ 924 h 2092"/>
                <a:gd name="T44" fmla="*/ 485 w 1298"/>
                <a:gd name="T45" fmla="*/ 137 h 2092"/>
                <a:gd name="T46" fmla="*/ 518 w 1298"/>
                <a:gd name="T47" fmla="*/ 148 h 2092"/>
                <a:gd name="T48" fmla="*/ 535 w 1298"/>
                <a:gd name="T49" fmla="*/ 178 h 2092"/>
                <a:gd name="T50" fmla="*/ 527 w 1298"/>
                <a:gd name="T51" fmla="*/ 211 h 2092"/>
                <a:gd name="T52" fmla="*/ 485 w 1298"/>
                <a:gd name="T53" fmla="*/ 236 h 2092"/>
                <a:gd name="T54" fmla="*/ 369 w 1298"/>
                <a:gd name="T55" fmla="*/ 297 h 2092"/>
                <a:gd name="T56" fmla="*/ 286 w 1298"/>
                <a:gd name="T57" fmla="*/ 379 h 2092"/>
                <a:gd name="T58" fmla="*/ 238 w 1298"/>
                <a:gd name="T59" fmla="*/ 483 h 2092"/>
                <a:gd name="T60" fmla="*/ 220 w 1298"/>
                <a:gd name="T61" fmla="*/ 610 h 2092"/>
                <a:gd name="T62" fmla="*/ 211 w 1298"/>
                <a:gd name="T63" fmla="*/ 657 h 2092"/>
                <a:gd name="T64" fmla="*/ 183 w 1298"/>
                <a:gd name="T65" fmla="*/ 675 h 2092"/>
                <a:gd name="T66" fmla="*/ 148 w 1298"/>
                <a:gd name="T67" fmla="*/ 671 h 2092"/>
                <a:gd name="T68" fmla="*/ 127 w 1298"/>
                <a:gd name="T69" fmla="*/ 644 h 2092"/>
                <a:gd name="T70" fmla="*/ 129 w 1298"/>
                <a:gd name="T71" fmla="*/ 532 h 2092"/>
                <a:gd name="T72" fmla="*/ 171 w 1298"/>
                <a:gd name="T73" fmla="*/ 390 h 2092"/>
                <a:gd name="T74" fmla="*/ 251 w 1298"/>
                <a:gd name="T75" fmla="*/ 273 h 2092"/>
                <a:gd name="T76" fmla="*/ 371 w 1298"/>
                <a:gd name="T77" fmla="*/ 184 h 2092"/>
                <a:gd name="T78" fmla="*/ 865 w 1298"/>
                <a:gd name="T79" fmla="*/ 1800 h 2092"/>
                <a:gd name="T80" fmla="*/ 605 w 1298"/>
                <a:gd name="T81" fmla="*/ 1749 h 2092"/>
                <a:gd name="T82" fmla="*/ 480 w 1298"/>
                <a:gd name="T83" fmla="*/ 1701 h 2092"/>
                <a:gd name="T84" fmla="*/ 387 w 1298"/>
                <a:gd name="T85" fmla="*/ 1566 h 2092"/>
                <a:gd name="T86" fmla="*/ 562 w 1298"/>
                <a:gd name="T87" fmla="*/ 1647 h 2092"/>
                <a:gd name="T88" fmla="*/ 825 w 1298"/>
                <a:gd name="T89" fmla="*/ 1705 h 2092"/>
                <a:gd name="T90" fmla="*/ 913 w 1298"/>
                <a:gd name="T91" fmla="*/ 1942 h 2092"/>
                <a:gd name="T92" fmla="*/ 656 w 1298"/>
                <a:gd name="T93" fmla="*/ 1903 h 2092"/>
                <a:gd name="T94" fmla="*/ 504 w 1298"/>
                <a:gd name="T95" fmla="*/ 1850 h 2092"/>
                <a:gd name="T96" fmla="*/ 387 w 1298"/>
                <a:gd name="T97" fmla="*/ 1787 h 2092"/>
                <a:gd name="T98" fmla="*/ 515 w 1298"/>
                <a:gd name="T99" fmla="*/ 1767 h 2092"/>
                <a:gd name="T100" fmla="*/ 770 w 1298"/>
                <a:gd name="T101" fmla="*/ 1836 h 2092"/>
                <a:gd name="T102" fmla="*/ 867 w 1298"/>
                <a:gd name="T103" fmla="*/ 2025 h 2092"/>
                <a:gd name="T104" fmla="*/ 751 w 1298"/>
                <a:gd name="T105" fmla="*/ 2062 h 2092"/>
                <a:gd name="T106" fmla="*/ 588 w 1298"/>
                <a:gd name="T107" fmla="*/ 2020 h 2092"/>
                <a:gd name="T108" fmla="*/ 465 w 1298"/>
                <a:gd name="T109" fmla="*/ 1970 h 2092"/>
                <a:gd name="T110" fmla="*/ 380 w 1298"/>
                <a:gd name="T111" fmla="*/ 1901 h 2092"/>
                <a:gd name="T112" fmla="*/ 530 w 1298"/>
                <a:gd name="T113" fmla="*/ 1912 h 2092"/>
                <a:gd name="T114" fmla="*/ 774 w 1298"/>
                <a:gd name="T115" fmla="*/ 1975 h 2092"/>
                <a:gd name="T116" fmla="*/ 552 w 1298"/>
                <a:gd name="T117" fmla="*/ 2088 h 2092"/>
                <a:gd name="T118" fmla="*/ 456 w 1298"/>
                <a:gd name="T119" fmla="*/ 2046 h 2092"/>
                <a:gd name="T120" fmla="*/ 459 w 1298"/>
                <a:gd name="T121" fmla="*/ 2020 h 2092"/>
                <a:gd name="T122" fmla="*/ 640 w 1298"/>
                <a:gd name="T123" fmla="*/ 2086 h 2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98" h="2092">
                  <a:moveTo>
                    <a:pt x="649" y="0"/>
                  </a:moveTo>
                  <a:lnTo>
                    <a:pt x="683" y="0"/>
                  </a:lnTo>
                  <a:lnTo>
                    <a:pt x="716" y="2"/>
                  </a:lnTo>
                  <a:lnTo>
                    <a:pt x="748" y="7"/>
                  </a:lnTo>
                  <a:lnTo>
                    <a:pt x="780" y="12"/>
                  </a:lnTo>
                  <a:lnTo>
                    <a:pt x="812" y="20"/>
                  </a:lnTo>
                  <a:lnTo>
                    <a:pt x="842" y="28"/>
                  </a:lnTo>
                  <a:lnTo>
                    <a:pt x="873" y="38"/>
                  </a:lnTo>
                  <a:lnTo>
                    <a:pt x="902" y="51"/>
                  </a:lnTo>
                  <a:lnTo>
                    <a:pt x="931" y="63"/>
                  </a:lnTo>
                  <a:lnTo>
                    <a:pt x="958" y="78"/>
                  </a:lnTo>
                  <a:lnTo>
                    <a:pt x="985" y="94"/>
                  </a:lnTo>
                  <a:lnTo>
                    <a:pt x="1013" y="111"/>
                  </a:lnTo>
                  <a:lnTo>
                    <a:pt x="1037" y="129"/>
                  </a:lnTo>
                  <a:lnTo>
                    <a:pt x="1062" y="148"/>
                  </a:lnTo>
                  <a:lnTo>
                    <a:pt x="1086" y="168"/>
                  </a:lnTo>
                  <a:lnTo>
                    <a:pt x="1109" y="190"/>
                  </a:lnTo>
                  <a:lnTo>
                    <a:pt x="1130" y="212"/>
                  </a:lnTo>
                  <a:lnTo>
                    <a:pt x="1150" y="236"/>
                  </a:lnTo>
                  <a:lnTo>
                    <a:pt x="1170" y="260"/>
                  </a:lnTo>
                  <a:lnTo>
                    <a:pt x="1188" y="286"/>
                  </a:lnTo>
                  <a:lnTo>
                    <a:pt x="1205" y="312"/>
                  </a:lnTo>
                  <a:lnTo>
                    <a:pt x="1220" y="339"/>
                  </a:lnTo>
                  <a:lnTo>
                    <a:pt x="1235" y="367"/>
                  </a:lnTo>
                  <a:lnTo>
                    <a:pt x="1247" y="396"/>
                  </a:lnTo>
                  <a:lnTo>
                    <a:pt x="1259" y="426"/>
                  </a:lnTo>
                  <a:lnTo>
                    <a:pt x="1269" y="455"/>
                  </a:lnTo>
                  <a:lnTo>
                    <a:pt x="1278" y="487"/>
                  </a:lnTo>
                  <a:lnTo>
                    <a:pt x="1286" y="518"/>
                  </a:lnTo>
                  <a:lnTo>
                    <a:pt x="1291" y="550"/>
                  </a:lnTo>
                  <a:lnTo>
                    <a:pt x="1295" y="583"/>
                  </a:lnTo>
                  <a:lnTo>
                    <a:pt x="1298" y="615"/>
                  </a:lnTo>
                  <a:lnTo>
                    <a:pt x="1298" y="649"/>
                  </a:lnTo>
                  <a:lnTo>
                    <a:pt x="1298" y="673"/>
                  </a:lnTo>
                  <a:lnTo>
                    <a:pt x="1297" y="699"/>
                  </a:lnTo>
                  <a:lnTo>
                    <a:pt x="1295" y="725"/>
                  </a:lnTo>
                  <a:lnTo>
                    <a:pt x="1291" y="752"/>
                  </a:lnTo>
                  <a:lnTo>
                    <a:pt x="1287" y="779"/>
                  </a:lnTo>
                  <a:lnTo>
                    <a:pt x="1282" y="807"/>
                  </a:lnTo>
                  <a:lnTo>
                    <a:pt x="1277" y="835"/>
                  </a:lnTo>
                  <a:lnTo>
                    <a:pt x="1271" y="864"/>
                  </a:lnTo>
                  <a:lnTo>
                    <a:pt x="1263" y="892"/>
                  </a:lnTo>
                  <a:lnTo>
                    <a:pt x="1255" y="920"/>
                  </a:lnTo>
                  <a:lnTo>
                    <a:pt x="1246" y="950"/>
                  </a:lnTo>
                  <a:lnTo>
                    <a:pt x="1237" y="978"/>
                  </a:lnTo>
                  <a:lnTo>
                    <a:pt x="1227" y="1007"/>
                  </a:lnTo>
                  <a:lnTo>
                    <a:pt x="1216" y="1037"/>
                  </a:lnTo>
                  <a:lnTo>
                    <a:pt x="1205" y="1065"/>
                  </a:lnTo>
                  <a:lnTo>
                    <a:pt x="1192" y="1094"/>
                  </a:lnTo>
                  <a:lnTo>
                    <a:pt x="1180" y="1123"/>
                  </a:lnTo>
                  <a:lnTo>
                    <a:pt x="1166" y="1151"/>
                  </a:lnTo>
                  <a:lnTo>
                    <a:pt x="1153" y="1178"/>
                  </a:lnTo>
                  <a:lnTo>
                    <a:pt x="1138" y="1206"/>
                  </a:lnTo>
                  <a:lnTo>
                    <a:pt x="1122" y="1232"/>
                  </a:lnTo>
                  <a:lnTo>
                    <a:pt x="1106" y="1259"/>
                  </a:lnTo>
                  <a:lnTo>
                    <a:pt x="1089" y="1285"/>
                  </a:lnTo>
                  <a:lnTo>
                    <a:pt x="1072" y="1310"/>
                  </a:lnTo>
                  <a:lnTo>
                    <a:pt x="1055" y="1335"/>
                  </a:lnTo>
                  <a:lnTo>
                    <a:pt x="1037" y="1359"/>
                  </a:lnTo>
                  <a:lnTo>
                    <a:pt x="1018" y="1381"/>
                  </a:lnTo>
                  <a:lnTo>
                    <a:pt x="999" y="1404"/>
                  </a:lnTo>
                  <a:lnTo>
                    <a:pt x="980" y="1425"/>
                  </a:lnTo>
                  <a:lnTo>
                    <a:pt x="959" y="1446"/>
                  </a:lnTo>
                  <a:lnTo>
                    <a:pt x="939" y="1465"/>
                  </a:lnTo>
                  <a:lnTo>
                    <a:pt x="919" y="1483"/>
                  </a:lnTo>
                  <a:lnTo>
                    <a:pt x="919" y="1666"/>
                  </a:lnTo>
                  <a:lnTo>
                    <a:pt x="901" y="1665"/>
                  </a:lnTo>
                  <a:lnTo>
                    <a:pt x="883" y="1662"/>
                  </a:lnTo>
                  <a:lnTo>
                    <a:pt x="865" y="1661"/>
                  </a:lnTo>
                  <a:lnTo>
                    <a:pt x="847" y="1659"/>
                  </a:lnTo>
                  <a:lnTo>
                    <a:pt x="828" y="1658"/>
                  </a:lnTo>
                  <a:lnTo>
                    <a:pt x="812" y="1656"/>
                  </a:lnTo>
                  <a:lnTo>
                    <a:pt x="793" y="1653"/>
                  </a:lnTo>
                  <a:lnTo>
                    <a:pt x="775" y="1650"/>
                  </a:lnTo>
                  <a:lnTo>
                    <a:pt x="758" y="1648"/>
                  </a:lnTo>
                  <a:lnTo>
                    <a:pt x="742" y="1644"/>
                  </a:lnTo>
                  <a:lnTo>
                    <a:pt x="723" y="1641"/>
                  </a:lnTo>
                  <a:lnTo>
                    <a:pt x="707" y="1638"/>
                  </a:lnTo>
                  <a:lnTo>
                    <a:pt x="690" y="1634"/>
                  </a:lnTo>
                  <a:lnTo>
                    <a:pt x="673" y="1630"/>
                  </a:lnTo>
                  <a:lnTo>
                    <a:pt x="656" y="1625"/>
                  </a:lnTo>
                  <a:lnTo>
                    <a:pt x="639" y="1621"/>
                  </a:lnTo>
                  <a:lnTo>
                    <a:pt x="622" y="1616"/>
                  </a:lnTo>
                  <a:lnTo>
                    <a:pt x="605" y="1610"/>
                  </a:lnTo>
                  <a:lnTo>
                    <a:pt x="596" y="1608"/>
                  </a:lnTo>
                  <a:lnTo>
                    <a:pt x="587" y="1606"/>
                  </a:lnTo>
                  <a:lnTo>
                    <a:pt x="579" y="1602"/>
                  </a:lnTo>
                  <a:lnTo>
                    <a:pt x="570" y="1599"/>
                  </a:lnTo>
                  <a:lnTo>
                    <a:pt x="562" y="1597"/>
                  </a:lnTo>
                  <a:lnTo>
                    <a:pt x="554" y="1593"/>
                  </a:lnTo>
                  <a:lnTo>
                    <a:pt x="545" y="1590"/>
                  </a:lnTo>
                  <a:lnTo>
                    <a:pt x="537" y="1587"/>
                  </a:lnTo>
                  <a:lnTo>
                    <a:pt x="529" y="1583"/>
                  </a:lnTo>
                  <a:lnTo>
                    <a:pt x="520" y="1580"/>
                  </a:lnTo>
                  <a:lnTo>
                    <a:pt x="512" y="1577"/>
                  </a:lnTo>
                  <a:lnTo>
                    <a:pt x="504" y="1573"/>
                  </a:lnTo>
                  <a:lnTo>
                    <a:pt x="496" y="1570"/>
                  </a:lnTo>
                  <a:lnTo>
                    <a:pt x="489" y="1566"/>
                  </a:lnTo>
                  <a:lnTo>
                    <a:pt x="480" y="1562"/>
                  </a:lnTo>
                  <a:lnTo>
                    <a:pt x="472" y="1558"/>
                  </a:lnTo>
                  <a:lnTo>
                    <a:pt x="464" y="1554"/>
                  </a:lnTo>
                  <a:lnTo>
                    <a:pt x="456" y="1549"/>
                  </a:lnTo>
                  <a:lnTo>
                    <a:pt x="448" y="1546"/>
                  </a:lnTo>
                  <a:lnTo>
                    <a:pt x="441" y="1542"/>
                  </a:lnTo>
                  <a:lnTo>
                    <a:pt x="433" y="1537"/>
                  </a:lnTo>
                  <a:lnTo>
                    <a:pt x="425" y="1532"/>
                  </a:lnTo>
                  <a:lnTo>
                    <a:pt x="417" y="1528"/>
                  </a:lnTo>
                  <a:lnTo>
                    <a:pt x="410" y="1523"/>
                  </a:lnTo>
                  <a:lnTo>
                    <a:pt x="403" y="1519"/>
                  </a:lnTo>
                  <a:lnTo>
                    <a:pt x="395" y="1514"/>
                  </a:lnTo>
                  <a:lnTo>
                    <a:pt x="387" y="1510"/>
                  </a:lnTo>
                  <a:lnTo>
                    <a:pt x="380" y="1504"/>
                  </a:lnTo>
                  <a:lnTo>
                    <a:pt x="380" y="1483"/>
                  </a:lnTo>
                  <a:lnTo>
                    <a:pt x="359" y="1465"/>
                  </a:lnTo>
                  <a:lnTo>
                    <a:pt x="338" y="1446"/>
                  </a:lnTo>
                  <a:lnTo>
                    <a:pt x="319" y="1425"/>
                  </a:lnTo>
                  <a:lnTo>
                    <a:pt x="299" y="1404"/>
                  </a:lnTo>
                  <a:lnTo>
                    <a:pt x="280" y="1381"/>
                  </a:lnTo>
                  <a:lnTo>
                    <a:pt x="262" y="1359"/>
                  </a:lnTo>
                  <a:lnTo>
                    <a:pt x="244" y="1335"/>
                  </a:lnTo>
                  <a:lnTo>
                    <a:pt x="227" y="1310"/>
                  </a:lnTo>
                  <a:lnTo>
                    <a:pt x="209" y="1285"/>
                  </a:lnTo>
                  <a:lnTo>
                    <a:pt x="193" y="1259"/>
                  </a:lnTo>
                  <a:lnTo>
                    <a:pt x="177" y="1232"/>
                  </a:lnTo>
                  <a:lnTo>
                    <a:pt x="161" y="1206"/>
                  </a:lnTo>
                  <a:lnTo>
                    <a:pt x="146" y="1178"/>
                  </a:lnTo>
                  <a:lnTo>
                    <a:pt x="133" y="1151"/>
                  </a:lnTo>
                  <a:lnTo>
                    <a:pt x="119" y="1123"/>
                  </a:lnTo>
                  <a:lnTo>
                    <a:pt x="106" y="1094"/>
                  </a:lnTo>
                  <a:lnTo>
                    <a:pt x="93" y="1065"/>
                  </a:lnTo>
                  <a:lnTo>
                    <a:pt x="82" y="1037"/>
                  </a:lnTo>
                  <a:lnTo>
                    <a:pt x="71" y="1007"/>
                  </a:lnTo>
                  <a:lnTo>
                    <a:pt x="62" y="978"/>
                  </a:lnTo>
                  <a:lnTo>
                    <a:pt x="52" y="950"/>
                  </a:lnTo>
                  <a:lnTo>
                    <a:pt x="43" y="920"/>
                  </a:lnTo>
                  <a:lnTo>
                    <a:pt x="35" y="892"/>
                  </a:lnTo>
                  <a:lnTo>
                    <a:pt x="28" y="864"/>
                  </a:lnTo>
                  <a:lnTo>
                    <a:pt x="21" y="835"/>
                  </a:lnTo>
                  <a:lnTo>
                    <a:pt x="15" y="807"/>
                  </a:lnTo>
                  <a:lnTo>
                    <a:pt x="11" y="779"/>
                  </a:lnTo>
                  <a:lnTo>
                    <a:pt x="8" y="752"/>
                  </a:lnTo>
                  <a:lnTo>
                    <a:pt x="4" y="725"/>
                  </a:lnTo>
                  <a:lnTo>
                    <a:pt x="2" y="699"/>
                  </a:lnTo>
                  <a:lnTo>
                    <a:pt x="1" y="673"/>
                  </a:lnTo>
                  <a:lnTo>
                    <a:pt x="0" y="649"/>
                  </a:lnTo>
                  <a:lnTo>
                    <a:pt x="1" y="615"/>
                  </a:lnTo>
                  <a:lnTo>
                    <a:pt x="3" y="583"/>
                  </a:lnTo>
                  <a:lnTo>
                    <a:pt x="8" y="550"/>
                  </a:lnTo>
                  <a:lnTo>
                    <a:pt x="13" y="518"/>
                  </a:lnTo>
                  <a:lnTo>
                    <a:pt x="21" y="487"/>
                  </a:lnTo>
                  <a:lnTo>
                    <a:pt x="29" y="455"/>
                  </a:lnTo>
                  <a:lnTo>
                    <a:pt x="39" y="426"/>
                  </a:lnTo>
                  <a:lnTo>
                    <a:pt x="52" y="396"/>
                  </a:lnTo>
                  <a:lnTo>
                    <a:pt x="64" y="367"/>
                  </a:lnTo>
                  <a:lnTo>
                    <a:pt x="79" y="339"/>
                  </a:lnTo>
                  <a:lnTo>
                    <a:pt x="94" y="312"/>
                  </a:lnTo>
                  <a:lnTo>
                    <a:pt x="111" y="286"/>
                  </a:lnTo>
                  <a:lnTo>
                    <a:pt x="129" y="260"/>
                  </a:lnTo>
                  <a:lnTo>
                    <a:pt x="149" y="236"/>
                  </a:lnTo>
                  <a:lnTo>
                    <a:pt x="169" y="212"/>
                  </a:lnTo>
                  <a:lnTo>
                    <a:pt x="190" y="190"/>
                  </a:lnTo>
                  <a:lnTo>
                    <a:pt x="213" y="168"/>
                  </a:lnTo>
                  <a:lnTo>
                    <a:pt x="237" y="148"/>
                  </a:lnTo>
                  <a:lnTo>
                    <a:pt x="260" y="129"/>
                  </a:lnTo>
                  <a:lnTo>
                    <a:pt x="286" y="111"/>
                  </a:lnTo>
                  <a:lnTo>
                    <a:pt x="312" y="94"/>
                  </a:lnTo>
                  <a:lnTo>
                    <a:pt x="340" y="78"/>
                  </a:lnTo>
                  <a:lnTo>
                    <a:pt x="368" y="63"/>
                  </a:lnTo>
                  <a:lnTo>
                    <a:pt x="397" y="51"/>
                  </a:lnTo>
                  <a:lnTo>
                    <a:pt x="426" y="38"/>
                  </a:lnTo>
                  <a:lnTo>
                    <a:pt x="456" y="28"/>
                  </a:lnTo>
                  <a:lnTo>
                    <a:pt x="487" y="20"/>
                  </a:lnTo>
                  <a:lnTo>
                    <a:pt x="519" y="12"/>
                  </a:lnTo>
                  <a:lnTo>
                    <a:pt x="551" y="7"/>
                  </a:lnTo>
                  <a:lnTo>
                    <a:pt x="583" y="2"/>
                  </a:lnTo>
                  <a:lnTo>
                    <a:pt x="616" y="0"/>
                  </a:lnTo>
                  <a:lnTo>
                    <a:pt x="649" y="0"/>
                  </a:lnTo>
                  <a:close/>
                  <a:moveTo>
                    <a:pt x="139" y="854"/>
                  </a:moveTo>
                  <a:lnTo>
                    <a:pt x="139" y="851"/>
                  </a:lnTo>
                  <a:lnTo>
                    <a:pt x="139" y="848"/>
                  </a:lnTo>
                  <a:lnTo>
                    <a:pt x="139" y="846"/>
                  </a:lnTo>
                  <a:lnTo>
                    <a:pt x="137" y="844"/>
                  </a:lnTo>
                  <a:lnTo>
                    <a:pt x="137" y="841"/>
                  </a:lnTo>
                  <a:lnTo>
                    <a:pt x="139" y="839"/>
                  </a:lnTo>
                  <a:lnTo>
                    <a:pt x="139" y="837"/>
                  </a:lnTo>
                  <a:lnTo>
                    <a:pt x="139" y="835"/>
                  </a:lnTo>
                  <a:lnTo>
                    <a:pt x="139" y="832"/>
                  </a:lnTo>
                  <a:lnTo>
                    <a:pt x="140" y="830"/>
                  </a:lnTo>
                  <a:lnTo>
                    <a:pt x="141" y="828"/>
                  </a:lnTo>
                  <a:lnTo>
                    <a:pt x="141" y="825"/>
                  </a:lnTo>
                  <a:lnTo>
                    <a:pt x="142" y="823"/>
                  </a:lnTo>
                  <a:lnTo>
                    <a:pt x="143" y="821"/>
                  </a:lnTo>
                  <a:lnTo>
                    <a:pt x="144" y="820"/>
                  </a:lnTo>
                  <a:lnTo>
                    <a:pt x="145" y="818"/>
                  </a:lnTo>
                  <a:lnTo>
                    <a:pt x="146" y="815"/>
                  </a:lnTo>
                  <a:lnTo>
                    <a:pt x="148" y="813"/>
                  </a:lnTo>
                  <a:lnTo>
                    <a:pt x="150" y="812"/>
                  </a:lnTo>
                  <a:lnTo>
                    <a:pt x="151" y="810"/>
                  </a:lnTo>
                  <a:lnTo>
                    <a:pt x="152" y="809"/>
                  </a:lnTo>
                  <a:lnTo>
                    <a:pt x="154" y="807"/>
                  </a:lnTo>
                  <a:lnTo>
                    <a:pt x="157" y="805"/>
                  </a:lnTo>
                  <a:lnTo>
                    <a:pt x="158" y="804"/>
                  </a:lnTo>
                  <a:lnTo>
                    <a:pt x="160" y="803"/>
                  </a:lnTo>
                  <a:lnTo>
                    <a:pt x="162" y="802"/>
                  </a:lnTo>
                  <a:lnTo>
                    <a:pt x="163" y="801"/>
                  </a:lnTo>
                  <a:lnTo>
                    <a:pt x="166" y="800"/>
                  </a:lnTo>
                  <a:lnTo>
                    <a:pt x="168" y="798"/>
                  </a:lnTo>
                  <a:lnTo>
                    <a:pt x="170" y="797"/>
                  </a:lnTo>
                  <a:lnTo>
                    <a:pt x="172" y="797"/>
                  </a:lnTo>
                  <a:lnTo>
                    <a:pt x="176" y="796"/>
                  </a:lnTo>
                  <a:lnTo>
                    <a:pt x="178" y="796"/>
                  </a:lnTo>
                  <a:lnTo>
                    <a:pt x="180" y="796"/>
                  </a:lnTo>
                  <a:lnTo>
                    <a:pt x="183" y="795"/>
                  </a:lnTo>
                  <a:lnTo>
                    <a:pt x="185" y="795"/>
                  </a:lnTo>
                  <a:lnTo>
                    <a:pt x="187" y="795"/>
                  </a:lnTo>
                  <a:lnTo>
                    <a:pt x="189" y="795"/>
                  </a:lnTo>
                  <a:lnTo>
                    <a:pt x="192" y="796"/>
                  </a:lnTo>
                  <a:lnTo>
                    <a:pt x="194" y="796"/>
                  </a:lnTo>
                  <a:lnTo>
                    <a:pt x="196" y="796"/>
                  </a:lnTo>
                  <a:lnTo>
                    <a:pt x="198" y="797"/>
                  </a:lnTo>
                  <a:lnTo>
                    <a:pt x="201" y="797"/>
                  </a:lnTo>
                  <a:lnTo>
                    <a:pt x="203" y="798"/>
                  </a:lnTo>
                  <a:lnTo>
                    <a:pt x="205" y="800"/>
                  </a:lnTo>
                  <a:lnTo>
                    <a:pt x="207" y="801"/>
                  </a:lnTo>
                  <a:lnTo>
                    <a:pt x="210" y="802"/>
                  </a:lnTo>
                  <a:lnTo>
                    <a:pt x="211" y="803"/>
                  </a:lnTo>
                  <a:lnTo>
                    <a:pt x="213" y="804"/>
                  </a:lnTo>
                  <a:lnTo>
                    <a:pt x="215" y="805"/>
                  </a:lnTo>
                  <a:lnTo>
                    <a:pt x="216" y="806"/>
                  </a:lnTo>
                  <a:lnTo>
                    <a:pt x="219" y="809"/>
                  </a:lnTo>
                  <a:lnTo>
                    <a:pt x="220" y="810"/>
                  </a:lnTo>
                  <a:lnTo>
                    <a:pt x="222" y="812"/>
                  </a:lnTo>
                  <a:lnTo>
                    <a:pt x="223" y="813"/>
                  </a:lnTo>
                  <a:lnTo>
                    <a:pt x="224" y="815"/>
                  </a:lnTo>
                  <a:lnTo>
                    <a:pt x="225" y="818"/>
                  </a:lnTo>
                  <a:lnTo>
                    <a:pt x="227" y="819"/>
                  </a:lnTo>
                  <a:lnTo>
                    <a:pt x="228" y="821"/>
                  </a:lnTo>
                  <a:lnTo>
                    <a:pt x="229" y="823"/>
                  </a:lnTo>
                  <a:lnTo>
                    <a:pt x="230" y="825"/>
                  </a:lnTo>
                  <a:lnTo>
                    <a:pt x="231" y="828"/>
                  </a:lnTo>
                  <a:lnTo>
                    <a:pt x="231" y="830"/>
                  </a:lnTo>
                  <a:lnTo>
                    <a:pt x="232" y="832"/>
                  </a:lnTo>
                  <a:lnTo>
                    <a:pt x="233" y="838"/>
                  </a:lnTo>
                  <a:lnTo>
                    <a:pt x="236" y="845"/>
                  </a:lnTo>
                  <a:lnTo>
                    <a:pt x="237" y="851"/>
                  </a:lnTo>
                  <a:lnTo>
                    <a:pt x="239" y="858"/>
                  </a:lnTo>
                  <a:lnTo>
                    <a:pt x="241" y="866"/>
                  </a:lnTo>
                  <a:lnTo>
                    <a:pt x="245" y="873"/>
                  </a:lnTo>
                  <a:lnTo>
                    <a:pt x="247" y="881"/>
                  </a:lnTo>
                  <a:lnTo>
                    <a:pt x="250" y="889"/>
                  </a:lnTo>
                  <a:lnTo>
                    <a:pt x="253" y="896"/>
                  </a:lnTo>
                  <a:lnTo>
                    <a:pt x="255" y="902"/>
                  </a:lnTo>
                  <a:lnTo>
                    <a:pt x="258" y="908"/>
                  </a:lnTo>
                  <a:lnTo>
                    <a:pt x="260" y="915"/>
                  </a:lnTo>
                  <a:lnTo>
                    <a:pt x="264" y="920"/>
                  </a:lnTo>
                  <a:lnTo>
                    <a:pt x="267" y="926"/>
                  </a:lnTo>
                  <a:lnTo>
                    <a:pt x="270" y="932"/>
                  </a:lnTo>
                  <a:lnTo>
                    <a:pt x="273" y="937"/>
                  </a:lnTo>
                  <a:lnTo>
                    <a:pt x="274" y="940"/>
                  </a:lnTo>
                  <a:lnTo>
                    <a:pt x="275" y="942"/>
                  </a:lnTo>
                  <a:lnTo>
                    <a:pt x="276" y="944"/>
                  </a:lnTo>
                  <a:lnTo>
                    <a:pt x="277" y="946"/>
                  </a:lnTo>
                  <a:lnTo>
                    <a:pt x="277" y="949"/>
                  </a:lnTo>
                  <a:lnTo>
                    <a:pt x="279" y="951"/>
                  </a:lnTo>
                  <a:lnTo>
                    <a:pt x="279" y="953"/>
                  </a:lnTo>
                  <a:lnTo>
                    <a:pt x="280" y="955"/>
                  </a:lnTo>
                  <a:lnTo>
                    <a:pt x="280" y="958"/>
                  </a:lnTo>
                  <a:lnTo>
                    <a:pt x="280" y="960"/>
                  </a:lnTo>
                  <a:lnTo>
                    <a:pt x="280" y="962"/>
                  </a:lnTo>
                  <a:lnTo>
                    <a:pt x="280" y="964"/>
                  </a:lnTo>
                  <a:lnTo>
                    <a:pt x="280" y="967"/>
                  </a:lnTo>
                  <a:lnTo>
                    <a:pt x="280" y="969"/>
                  </a:lnTo>
                  <a:lnTo>
                    <a:pt x="279" y="971"/>
                  </a:lnTo>
                  <a:lnTo>
                    <a:pt x="279" y="973"/>
                  </a:lnTo>
                  <a:lnTo>
                    <a:pt x="277" y="976"/>
                  </a:lnTo>
                  <a:lnTo>
                    <a:pt x="277" y="978"/>
                  </a:lnTo>
                  <a:lnTo>
                    <a:pt x="276" y="980"/>
                  </a:lnTo>
                  <a:lnTo>
                    <a:pt x="275" y="982"/>
                  </a:lnTo>
                  <a:lnTo>
                    <a:pt x="274" y="984"/>
                  </a:lnTo>
                  <a:lnTo>
                    <a:pt x="273" y="986"/>
                  </a:lnTo>
                  <a:lnTo>
                    <a:pt x="272" y="988"/>
                  </a:lnTo>
                  <a:lnTo>
                    <a:pt x="271" y="990"/>
                  </a:lnTo>
                  <a:lnTo>
                    <a:pt x="270" y="992"/>
                  </a:lnTo>
                  <a:lnTo>
                    <a:pt x="267" y="994"/>
                  </a:lnTo>
                  <a:lnTo>
                    <a:pt x="266" y="995"/>
                  </a:lnTo>
                  <a:lnTo>
                    <a:pt x="264" y="997"/>
                  </a:lnTo>
                  <a:lnTo>
                    <a:pt x="263" y="998"/>
                  </a:lnTo>
                  <a:lnTo>
                    <a:pt x="260" y="999"/>
                  </a:lnTo>
                  <a:lnTo>
                    <a:pt x="258" y="1002"/>
                  </a:lnTo>
                  <a:lnTo>
                    <a:pt x="256" y="1003"/>
                  </a:lnTo>
                  <a:lnTo>
                    <a:pt x="254" y="1004"/>
                  </a:lnTo>
                  <a:lnTo>
                    <a:pt x="253" y="1005"/>
                  </a:lnTo>
                  <a:lnTo>
                    <a:pt x="250" y="1006"/>
                  </a:lnTo>
                  <a:lnTo>
                    <a:pt x="248" y="1007"/>
                  </a:lnTo>
                  <a:lnTo>
                    <a:pt x="246" y="1007"/>
                  </a:lnTo>
                  <a:lnTo>
                    <a:pt x="244" y="1008"/>
                  </a:lnTo>
                  <a:lnTo>
                    <a:pt x="241" y="1008"/>
                  </a:lnTo>
                  <a:lnTo>
                    <a:pt x="239" y="1008"/>
                  </a:lnTo>
                  <a:lnTo>
                    <a:pt x="237" y="1010"/>
                  </a:lnTo>
                  <a:lnTo>
                    <a:pt x="235" y="1010"/>
                  </a:lnTo>
                  <a:lnTo>
                    <a:pt x="231" y="1010"/>
                  </a:lnTo>
                  <a:lnTo>
                    <a:pt x="229" y="1010"/>
                  </a:lnTo>
                  <a:lnTo>
                    <a:pt x="227" y="1010"/>
                  </a:lnTo>
                  <a:lnTo>
                    <a:pt x="225" y="1008"/>
                  </a:lnTo>
                  <a:lnTo>
                    <a:pt x="223" y="1008"/>
                  </a:lnTo>
                  <a:lnTo>
                    <a:pt x="221" y="1008"/>
                  </a:lnTo>
                  <a:lnTo>
                    <a:pt x="219" y="1007"/>
                  </a:lnTo>
                  <a:lnTo>
                    <a:pt x="216" y="1006"/>
                  </a:lnTo>
                  <a:lnTo>
                    <a:pt x="214" y="1006"/>
                  </a:lnTo>
                  <a:lnTo>
                    <a:pt x="212" y="1005"/>
                  </a:lnTo>
                  <a:lnTo>
                    <a:pt x="210" y="1004"/>
                  </a:lnTo>
                  <a:lnTo>
                    <a:pt x="207" y="1003"/>
                  </a:lnTo>
                  <a:lnTo>
                    <a:pt x="206" y="1002"/>
                  </a:lnTo>
                  <a:lnTo>
                    <a:pt x="204" y="1001"/>
                  </a:lnTo>
                  <a:lnTo>
                    <a:pt x="202" y="998"/>
                  </a:lnTo>
                  <a:lnTo>
                    <a:pt x="201" y="997"/>
                  </a:lnTo>
                  <a:lnTo>
                    <a:pt x="198" y="996"/>
                  </a:lnTo>
                  <a:lnTo>
                    <a:pt x="197" y="994"/>
                  </a:lnTo>
                  <a:lnTo>
                    <a:pt x="195" y="993"/>
                  </a:lnTo>
                  <a:lnTo>
                    <a:pt x="194" y="990"/>
                  </a:lnTo>
                  <a:lnTo>
                    <a:pt x="193" y="988"/>
                  </a:lnTo>
                  <a:lnTo>
                    <a:pt x="192" y="986"/>
                  </a:lnTo>
                  <a:lnTo>
                    <a:pt x="187" y="979"/>
                  </a:lnTo>
                  <a:lnTo>
                    <a:pt x="183" y="971"/>
                  </a:lnTo>
                  <a:lnTo>
                    <a:pt x="179" y="963"/>
                  </a:lnTo>
                  <a:lnTo>
                    <a:pt x="175" y="955"/>
                  </a:lnTo>
                  <a:lnTo>
                    <a:pt x="171" y="947"/>
                  </a:lnTo>
                  <a:lnTo>
                    <a:pt x="168" y="940"/>
                  </a:lnTo>
                  <a:lnTo>
                    <a:pt x="165" y="932"/>
                  </a:lnTo>
                  <a:lnTo>
                    <a:pt x="161" y="924"/>
                  </a:lnTo>
                  <a:lnTo>
                    <a:pt x="158" y="915"/>
                  </a:lnTo>
                  <a:lnTo>
                    <a:pt x="154" y="905"/>
                  </a:lnTo>
                  <a:lnTo>
                    <a:pt x="151" y="896"/>
                  </a:lnTo>
                  <a:lnTo>
                    <a:pt x="148" y="886"/>
                  </a:lnTo>
                  <a:lnTo>
                    <a:pt x="145" y="877"/>
                  </a:lnTo>
                  <a:lnTo>
                    <a:pt x="143" y="868"/>
                  </a:lnTo>
                  <a:lnTo>
                    <a:pt x="141" y="860"/>
                  </a:lnTo>
                  <a:lnTo>
                    <a:pt x="139" y="854"/>
                  </a:lnTo>
                  <a:close/>
                  <a:moveTo>
                    <a:pt x="472" y="140"/>
                  </a:moveTo>
                  <a:lnTo>
                    <a:pt x="474" y="139"/>
                  </a:lnTo>
                  <a:lnTo>
                    <a:pt x="476" y="138"/>
                  </a:lnTo>
                  <a:lnTo>
                    <a:pt x="478" y="138"/>
                  </a:lnTo>
                  <a:lnTo>
                    <a:pt x="481" y="138"/>
                  </a:lnTo>
                  <a:lnTo>
                    <a:pt x="483" y="137"/>
                  </a:lnTo>
                  <a:lnTo>
                    <a:pt x="485" y="137"/>
                  </a:lnTo>
                  <a:lnTo>
                    <a:pt x="487" y="137"/>
                  </a:lnTo>
                  <a:lnTo>
                    <a:pt x="491" y="137"/>
                  </a:lnTo>
                  <a:lnTo>
                    <a:pt x="493" y="138"/>
                  </a:lnTo>
                  <a:lnTo>
                    <a:pt x="495" y="138"/>
                  </a:lnTo>
                  <a:lnTo>
                    <a:pt x="498" y="138"/>
                  </a:lnTo>
                  <a:lnTo>
                    <a:pt x="500" y="139"/>
                  </a:lnTo>
                  <a:lnTo>
                    <a:pt x="501" y="139"/>
                  </a:lnTo>
                  <a:lnTo>
                    <a:pt x="503" y="140"/>
                  </a:lnTo>
                  <a:lnTo>
                    <a:pt x="506" y="141"/>
                  </a:lnTo>
                  <a:lnTo>
                    <a:pt x="508" y="142"/>
                  </a:lnTo>
                  <a:lnTo>
                    <a:pt x="510" y="142"/>
                  </a:lnTo>
                  <a:lnTo>
                    <a:pt x="512" y="143"/>
                  </a:lnTo>
                  <a:lnTo>
                    <a:pt x="513" y="146"/>
                  </a:lnTo>
                  <a:lnTo>
                    <a:pt x="516" y="147"/>
                  </a:lnTo>
                  <a:lnTo>
                    <a:pt x="518" y="148"/>
                  </a:lnTo>
                  <a:lnTo>
                    <a:pt x="519" y="149"/>
                  </a:lnTo>
                  <a:lnTo>
                    <a:pt x="521" y="151"/>
                  </a:lnTo>
                  <a:lnTo>
                    <a:pt x="522" y="152"/>
                  </a:lnTo>
                  <a:lnTo>
                    <a:pt x="524" y="155"/>
                  </a:lnTo>
                  <a:lnTo>
                    <a:pt x="526" y="156"/>
                  </a:lnTo>
                  <a:lnTo>
                    <a:pt x="527" y="158"/>
                  </a:lnTo>
                  <a:lnTo>
                    <a:pt x="528" y="160"/>
                  </a:lnTo>
                  <a:lnTo>
                    <a:pt x="529" y="163"/>
                  </a:lnTo>
                  <a:lnTo>
                    <a:pt x="530" y="165"/>
                  </a:lnTo>
                  <a:lnTo>
                    <a:pt x="531" y="167"/>
                  </a:lnTo>
                  <a:lnTo>
                    <a:pt x="533" y="169"/>
                  </a:lnTo>
                  <a:lnTo>
                    <a:pt x="533" y="172"/>
                  </a:lnTo>
                  <a:lnTo>
                    <a:pt x="534" y="174"/>
                  </a:lnTo>
                  <a:lnTo>
                    <a:pt x="534" y="176"/>
                  </a:lnTo>
                  <a:lnTo>
                    <a:pt x="535" y="178"/>
                  </a:lnTo>
                  <a:lnTo>
                    <a:pt x="535" y="181"/>
                  </a:lnTo>
                  <a:lnTo>
                    <a:pt x="535" y="183"/>
                  </a:lnTo>
                  <a:lnTo>
                    <a:pt x="535" y="185"/>
                  </a:lnTo>
                  <a:lnTo>
                    <a:pt x="535" y="187"/>
                  </a:lnTo>
                  <a:lnTo>
                    <a:pt x="535" y="190"/>
                  </a:lnTo>
                  <a:lnTo>
                    <a:pt x="535" y="192"/>
                  </a:lnTo>
                  <a:lnTo>
                    <a:pt x="534" y="194"/>
                  </a:lnTo>
                  <a:lnTo>
                    <a:pt x="534" y="196"/>
                  </a:lnTo>
                  <a:lnTo>
                    <a:pt x="533" y="199"/>
                  </a:lnTo>
                  <a:lnTo>
                    <a:pt x="531" y="201"/>
                  </a:lnTo>
                  <a:lnTo>
                    <a:pt x="531" y="203"/>
                  </a:lnTo>
                  <a:lnTo>
                    <a:pt x="530" y="205"/>
                  </a:lnTo>
                  <a:lnTo>
                    <a:pt x="529" y="208"/>
                  </a:lnTo>
                  <a:lnTo>
                    <a:pt x="528" y="209"/>
                  </a:lnTo>
                  <a:lnTo>
                    <a:pt x="527" y="211"/>
                  </a:lnTo>
                  <a:lnTo>
                    <a:pt x="526" y="213"/>
                  </a:lnTo>
                  <a:lnTo>
                    <a:pt x="524" y="214"/>
                  </a:lnTo>
                  <a:lnTo>
                    <a:pt x="522" y="217"/>
                  </a:lnTo>
                  <a:lnTo>
                    <a:pt x="521" y="219"/>
                  </a:lnTo>
                  <a:lnTo>
                    <a:pt x="519" y="220"/>
                  </a:lnTo>
                  <a:lnTo>
                    <a:pt x="518" y="221"/>
                  </a:lnTo>
                  <a:lnTo>
                    <a:pt x="516" y="224"/>
                  </a:lnTo>
                  <a:lnTo>
                    <a:pt x="513" y="225"/>
                  </a:lnTo>
                  <a:lnTo>
                    <a:pt x="511" y="226"/>
                  </a:lnTo>
                  <a:lnTo>
                    <a:pt x="510" y="227"/>
                  </a:lnTo>
                  <a:lnTo>
                    <a:pt x="508" y="228"/>
                  </a:lnTo>
                  <a:lnTo>
                    <a:pt x="506" y="229"/>
                  </a:lnTo>
                  <a:lnTo>
                    <a:pt x="503" y="229"/>
                  </a:lnTo>
                  <a:lnTo>
                    <a:pt x="494" y="233"/>
                  </a:lnTo>
                  <a:lnTo>
                    <a:pt x="485" y="236"/>
                  </a:lnTo>
                  <a:lnTo>
                    <a:pt x="476" y="239"/>
                  </a:lnTo>
                  <a:lnTo>
                    <a:pt x="468" y="243"/>
                  </a:lnTo>
                  <a:lnTo>
                    <a:pt x="459" y="247"/>
                  </a:lnTo>
                  <a:lnTo>
                    <a:pt x="451" y="251"/>
                  </a:lnTo>
                  <a:lnTo>
                    <a:pt x="442" y="254"/>
                  </a:lnTo>
                  <a:lnTo>
                    <a:pt x="434" y="259"/>
                  </a:lnTo>
                  <a:lnTo>
                    <a:pt x="426" y="262"/>
                  </a:lnTo>
                  <a:lnTo>
                    <a:pt x="420" y="266"/>
                  </a:lnTo>
                  <a:lnTo>
                    <a:pt x="412" y="270"/>
                  </a:lnTo>
                  <a:lnTo>
                    <a:pt x="404" y="274"/>
                  </a:lnTo>
                  <a:lnTo>
                    <a:pt x="397" y="279"/>
                  </a:lnTo>
                  <a:lnTo>
                    <a:pt x="389" y="283"/>
                  </a:lnTo>
                  <a:lnTo>
                    <a:pt x="382" y="288"/>
                  </a:lnTo>
                  <a:lnTo>
                    <a:pt x="376" y="292"/>
                  </a:lnTo>
                  <a:lnTo>
                    <a:pt x="369" y="297"/>
                  </a:lnTo>
                  <a:lnTo>
                    <a:pt x="362" y="303"/>
                  </a:lnTo>
                  <a:lnTo>
                    <a:pt x="356" y="307"/>
                  </a:lnTo>
                  <a:lnTo>
                    <a:pt x="350" y="312"/>
                  </a:lnTo>
                  <a:lnTo>
                    <a:pt x="344" y="317"/>
                  </a:lnTo>
                  <a:lnTo>
                    <a:pt x="338" y="322"/>
                  </a:lnTo>
                  <a:lnTo>
                    <a:pt x="333" y="327"/>
                  </a:lnTo>
                  <a:lnTo>
                    <a:pt x="327" y="333"/>
                  </a:lnTo>
                  <a:lnTo>
                    <a:pt x="321" y="339"/>
                  </a:lnTo>
                  <a:lnTo>
                    <a:pt x="316" y="344"/>
                  </a:lnTo>
                  <a:lnTo>
                    <a:pt x="310" y="350"/>
                  </a:lnTo>
                  <a:lnTo>
                    <a:pt x="306" y="356"/>
                  </a:lnTo>
                  <a:lnTo>
                    <a:pt x="301" y="361"/>
                  </a:lnTo>
                  <a:lnTo>
                    <a:pt x="295" y="367"/>
                  </a:lnTo>
                  <a:lnTo>
                    <a:pt x="291" y="374"/>
                  </a:lnTo>
                  <a:lnTo>
                    <a:pt x="286" y="379"/>
                  </a:lnTo>
                  <a:lnTo>
                    <a:pt x="283" y="385"/>
                  </a:lnTo>
                  <a:lnTo>
                    <a:pt x="279" y="392"/>
                  </a:lnTo>
                  <a:lnTo>
                    <a:pt x="274" y="399"/>
                  </a:lnTo>
                  <a:lnTo>
                    <a:pt x="271" y="404"/>
                  </a:lnTo>
                  <a:lnTo>
                    <a:pt x="267" y="411"/>
                  </a:lnTo>
                  <a:lnTo>
                    <a:pt x="264" y="418"/>
                  </a:lnTo>
                  <a:lnTo>
                    <a:pt x="259" y="425"/>
                  </a:lnTo>
                  <a:lnTo>
                    <a:pt x="257" y="431"/>
                  </a:lnTo>
                  <a:lnTo>
                    <a:pt x="254" y="439"/>
                  </a:lnTo>
                  <a:lnTo>
                    <a:pt x="250" y="446"/>
                  </a:lnTo>
                  <a:lnTo>
                    <a:pt x="248" y="453"/>
                  </a:lnTo>
                  <a:lnTo>
                    <a:pt x="245" y="461"/>
                  </a:lnTo>
                  <a:lnTo>
                    <a:pt x="242" y="469"/>
                  </a:lnTo>
                  <a:lnTo>
                    <a:pt x="240" y="475"/>
                  </a:lnTo>
                  <a:lnTo>
                    <a:pt x="238" y="483"/>
                  </a:lnTo>
                  <a:lnTo>
                    <a:pt x="236" y="491"/>
                  </a:lnTo>
                  <a:lnTo>
                    <a:pt x="233" y="499"/>
                  </a:lnTo>
                  <a:lnTo>
                    <a:pt x="231" y="507"/>
                  </a:lnTo>
                  <a:lnTo>
                    <a:pt x="230" y="515"/>
                  </a:lnTo>
                  <a:lnTo>
                    <a:pt x="228" y="523"/>
                  </a:lnTo>
                  <a:lnTo>
                    <a:pt x="227" y="531"/>
                  </a:lnTo>
                  <a:lnTo>
                    <a:pt x="225" y="540"/>
                  </a:lnTo>
                  <a:lnTo>
                    <a:pt x="224" y="548"/>
                  </a:lnTo>
                  <a:lnTo>
                    <a:pt x="223" y="557"/>
                  </a:lnTo>
                  <a:lnTo>
                    <a:pt x="222" y="565"/>
                  </a:lnTo>
                  <a:lnTo>
                    <a:pt x="221" y="574"/>
                  </a:lnTo>
                  <a:lnTo>
                    <a:pt x="221" y="583"/>
                  </a:lnTo>
                  <a:lnTo>
                    <a:pt x="220" y="592"/>
                  </a:lnTo>
                  <a:lnTo>
                    <a:pt x="220" y="601"/>
                  </a:lnTo>
                  <a:lnTo>
                    <a:pt x="220" y="610"/>
                  </a:lnTo>
                  <a:lnTo>
                    <a:pt x="220" y="619"/>
                  </a:lnTo>
                  <a:lnTo>
                    <a:pt x="220" y="629"/>
                  </a:lnTo>
                  <a:lnTo>
                    <a:pt x="220" y="631"/>
                  </a:lnTo>
                  <a:lnTo>
                    <a:pt x="220" y="633"/>
                  </a:lnTo>
                  <a:lnTo>
                    <a:pt x="220" y="636"/>
                  </a:lnTo>
                  <a:lnTo>
                    <a:pt x="219" y="638"/>
                  </a:lnTo>
                  <a:lnTo>
                    <a:pt x="219" y="640"/>
                  </a:lnTo>
                  <a:lnTo>
                    <a:pt x="218" y="643"/>
                  </a:lnTo>
                  <a:lnTo>
                    <a:pt x="218" y="645"/>
                  </a:lnTo>
                  <a:lnTo>
                    <a:pt x="216" y="647"/>
                  </a:lnTo>
                  <a:lnTo>
                    <a:pt x="215" y="649"/>
                  </a:lnTo>
                  <a:lnTo>
                    <a:pt x="214" y="652"/>
                  </a:lnTo>
                  <a:lnTo>
                    <a:pt x="213" y="654"/>
                  </a:lnTo>
                  <a:lnTo>
                    <a:pt x="212" y="655"/>
                  </a:lnTo>
                  <a:lnTo>
                    <a:pt x="211" y="657"/>
                  </a:lnTo>
                  <a:lnTo>
                    <a:pt x="210" y="659"/>
                  </a:lnTo>
                  <a:lnTo>
                    <a:pt x="207" y="661"/>
                  </a:lnTo>
                  <a:lnTo>
                    <a:pt x="206" y="663"/>
                  </a:lnTo>
                  <a:lnTo>
                    <a:pt x="205" y="664"/>
                  </a:lnTo>
                  <a:lnTo>
                    <a:pt x="203" y="665"/>
                  </a:lnTo>
                  <a:lnTo>
                    <a:pt x="202" y="667"/>
                  </a:lnTo>
                  <a:lnTo>
                    <a:pt x="200" y="668"/>
                  </a:lnTo>
                  <a:lnTo>
                    <a:pt x="197" y="670"/>
                  </a:lnTo>
                  <a:lnTo>
                    <a:pt x="195" y="671"/>
                  </a:lnTo>
                  <a:lnTo>
                    <a:pt x="194" y="672"/>
                  </a:lnTo>
                  <a:lnTo>
                    <a:pt x="192" y="673"/>
                  </a:lnTo>
                  <a:lnTo>
                    <a:pt x="189" y="674"/>
                  </a:lnTo>
                  <a:lnTo>
                    <a:pt x="187" y="674"/>
                  </a:lnTo>
                  <a:lnTo>
                    <a:pt x="185" y="675"/>
                  </a:lnTo>
                  <a:lnTo>
                    <a:pt x="183" y="675"/>
                  </a:lnTo>
                  <a:lnTo>
                    <a:pt x="180" y="676"/>
                  </a:lnTo>
                  <a:lnTo>
                    <a:pt x="178" y="676"/>
                  </a:lnTo>
                  <a:lnTo>
                    <a:pt x="176" y="676"/>
                  </a:lnTo>
                  <a:lnTo>
                    <a:pt x="172" y="676"/>
                  </a:lnTo>
                  <a:lnTo>
                    <a:pt x="170" y="676"/>
                  </a:lnTo>
                  <a:lnTo>
                    <a:pt x="168" y="676"/>
                  </a:lnTo>
                  <a:lnTo>
                    <a:pt x="166" y="676"/>
                  </a:lnTo>
                  <a:lnTo>
                    <a:pt x="163" y="676"/>
                  </a:lnTo>
                  <a:lnTo>
                    <a:pt x="161" y="675"/>
                  </a:lnTo>
                  <a:lnTo>
                    <a:pt x="159" y="675"/>
                  </a:lnTo>
                  <a:lnTo>
                    <a:pt x="157" y="674"/>
                  </a:lnTo>
                  <a:lnTo>
                    <a:pt x="154" y="673"/>
                  </a:lnTo>
                  <a:lnTo>
                    <a:pt x="152" y="673"/>
                  </a:lnTo>
                  <a:lnTo>
                    <a:pt x="150" y="672"/>
                  </a:lnTo>
                  <a:lnTo>
                    <a:pt x="148" y="671"/>
                  </a:lnTo>
                  <a:lnTo>
                    <a:pt x="146" y="670"/>
                  </a:lnTo>
                  <a:lnTo>
                    <a:pt x="144" y="668"/>
                  </a:lnTo>
                  <a:lnTo>
                    <a:pt x="142" y="666"/>
                  </a:lnTo>
                  <a:lnTo>
                    <a:pt x="141" y="665"/>
                  </a:lnTo>
                  <a:lnTo>
                    <a:pt x="139" y="664"/>
                  </a:lnTo>
                  <a:lnTo>
                    <a:pt x="137" y="662"/>
                  </a:lnTo>
                  <a:lnTo>
                    <a:pt x="136" y="661"/>
                  </a:lnTo>
                  <a:lnTo>
                    <a:pt x="134" y="658"/>
                  </a:lnTo>
                  <a:lnTo>
                    <a:pt x="133" y="656"/>
                  </a:lnTo>
                  <a:lnTo>
                    <a:pt x="132" y="655"/>
                  </a:lnTo>
                  <a:lnTo>
                    <a:pt x="131" y="653"/>
                  </a:lnTo>
                  <a:lnTo>
                    <a:pt x="129" y="650"/>
                  </a:lnTo>
                  <a:lnTo>
                    <a:pt x="128" y="648"/>
                  </a:lnTo>
                  <a:lnTo>
                    <a:pt x="127" y="646"/>
                  </a:lnTo>
                  <a:lnTo>
                    <a:pt x="127" y="644"/>
                  </a:lnTo>
                  <a:lnTo>
                    <a:pt x="126" y="641"/>
                  </a:lnTo>
                  <a:lnTo>
                    <a:pt x="126" y="639"/>
                  </a:lnTo>
                  <a:lnTo>
                    <a:pt x="125" y="637"/>
                  </a:lnTo>
                  <a:lnTo>
                    <a:pt x="125" y="635"/>
                  </a:lnTo>
                  <a:lnTo>
                    <a:pt x="125" y="632"/>
                  </a:lnTo>
                  <a:lnTo>
                    <a:pt x="125" y="630"/>
                  </a:lnTo>
                  <a:lnTo>
                    <a:pt x="124" y="619"/>
                  </a:lnTo>
                  <a:lnTo>
                    <a:pt x="125" y="608"/>
                  </a:lnTo>
                  <a:lnTo>
                    <a:pt x="125" y="596"/>
                  </a:lnTo>
                  <a:lnTo>
                    <a:pt x="125" y="585"/>
                  </a:lnTo>
                  <a:lnTo>
                    <a:pt x="126" y="575"/>
                  </a:lnTo>
                  <a:lnTo>
                    <a:pt x="126" y="563"/>
                  </a:lnTo>
                  <a:lnTo>
                    <a:pt x="127" y="553"/>
                  </a:lnTo>
                  <a:lnTo>
                    <a:pt x="128" y="542"/>
                  </a:lnTo>
                  <a:lnTo>
                    <a:pt x="129" y="532"/>
                  </a:lnTo>
                  <a:lnTo>
                    <a:pt x="132" y="522"/>
                  </a:lnTo>
                  <a:lnTo>
                    <a:pt x="133" y="512"/>
                  </a:lnTo>
                  <a:lnTo>
                    <a:pt x="135" y="501"/>
                  </a:lnTo>
                  <a:lnTo>
                    <a:pt x="137" y="492"/>
                  </a:lnTo>
                  <a:lnTo>
                    <a:pt x="139" y="482"/>
                  </a:lnTo>
                  <a:lnTo>
                    <a:pt x="142" y="472"/>
                  </a:lnTo>
                  <a:lnTo>
                    <a:pt x="144" y="463"/>
                  </a:lnTo>
                  <a:lnTo>
                    <a:pt x="146" y="453"/>
                  </a:lnTo>
                  <a:lnTo>
                    <a:pt x="150" y="444"/>
                  </a:lnTo>
                  <a:lnTo>
                    <a:pt x="153" y="435"/>
                  </a:lnTo>
                  <a:lnTo>
                    <a:pt x="157" y="426"/>
                  </a:lnTo>
                  <a:lnTo>
                    <a:pt x="160" y="417"/>
                  </a:lnTo>
                  <a:lnTo>
                    <a:pt x="163" y="408"/>
                  </a:lnTo>
                  <a:lnTo>
                    <a:pt x="167" y="399"/>
                  </a:lnTo>
                  <a:lnTo>
                    <a:pt x="171" y="390"/>
                  </a:lnTo>
                  <a:lnTo>
                    <a:pt x="175" y="382"/>
                  </a:lnTo>
                  <a:lnTo>
                    <a:pt x="179" y="373"/>
                  </a:lnTo>
                  <a:lnTo>
                    <a:pt x="184" y="365"/>
                  </a:lnTo>
                  <a:lnTo>
                    <a:pt x="188" y="356"/>
                  </a:lnTo>
                  <a:lnTo>
                    <a:pt x="194" y="348"/>
                  </a:lnTo>
                  <a:lnTo>
                    <a:pt x="198" y="340"/>
                  </a:lnTo>
                  <a:lnTo>
                    <a:pt x="204" y="332"/>
                  </a:lnTo>
                  <a:lnTo>
                    <a:pt x="210" y="324"/>
                  </a:lnTo>
                  <a:lnTo>
                    <a:pt x="215" y="316"/>
                  </a:lnTo>
                  <a:lnTo>
                    <a:pt x="221" y="309"/>
                  </a:lnTo>
                  <a:lnTo>
                    <a:pt x="227" y="301"/>
                  </a:lnTo>
                  <a:lnTo>
                    <a:pt x="232" y="295"/>
                  </a:lnTo>
                  <a:lnTo>
                    <a:pt x="239" y="287"/>
                  </a:lnTo>
                  <a:lnTo>
                    <a:pt x="245" y="280"/>
                  </a:lnTo>
                  <a:lnTo>
                    <a:pt x="251" y="273"/>
                  </a:lnTo>
                  <a:lnTo>
                    <a:pt x="258" y="266"/>
                  </a:lnTo>
                  <a:lnTo>
                    <a:pt x="265" y="260"/>
                  </a:lnTo>
                  <a:lnTo>
                    <a:pt x="272" y="253"/>
                  </a:lnTo>
                  <a:lnTo>
                    <a:pt x="280" y="246"/>
                  </a:lnTo>
                  <a:lnTo>
                    <a:pt x="288" y="240"/>
                  </a:lnTo>
                  <a:lnTo>
                    <a:pt x="294" y="234"/>
                  </a:lnTo>
                  <a:lnTo>
                    <a:pt x="302" y="228"/>
                  </a:lnTo>
                  <a:lnTo>
                    <a:pt x="310" y="222"/>
                  </a:lnTo>
                  <a:lnTo>
                    <a:pt x="318" y="216"/>
                  </a:lnTo>
                  <a:lnTo>
                    <a:pt x="327" y="210"/>
                  </a:lnTo>
                  <a:lnTo>
                    <a:pt x="335" y="204"/>
                  </a:lnTo>
                  <a:lnTo>
                    <a:pt x="344" y="200"/>
                  </a:lnTo>
                  <a:lnTo>
                    <a:pt x="353" y="194"/>
                  </a:lnTo>
                  <a:lnTo>
                    <a:pt x="362" y="189"/>
                  </a:lnTo>
                  <a:lnTo>
                    <a:pt x="371" y="184"/>
                  </a:lnTo>
                  <a:lnTo>
                    <a:pt x="380" y="178"/>
                  </a:lnTo>
                  <a:lnTo>
                    <a:pt x="389" y="174"/>
                  </a:lnTo>
                  <a:lnTo>
                    <a:pt x="399" y="169"/>
                  </a:lnTo>
                  <a:lnTo>
                    <a:pt x="408" y="165"/>
                  </a:lnTo>
                  <a:lnTo>
                    <a:pt x="419" y="160"/>
                  </a:lnTo>
                  <a:lnTo>
                    <a:pt x="429" y="156"/>
                  </a:lnTo>
                  <a:lnTo>
                    <a:pt x="439" y="151"/>
                  </a:lnTo>
                  <a:lnTo>
                    <a:pt x="450" y="148"/>
                  </a:lnTo>
                  <a:lnTo>
                    <a:pt x="460" y="143"/>
                  </a:lnTo>
                  <a:lnTo>
                    <a:pt x="472" y="140"/>
                  </a:lnTo>
                  <a:close/>
                  <a:moveTo>
                    <a:pt x="919" y="1713"/>
                  </a:moveTo>
                  <a:lnTo>
                    <a:pt x="919" y="1805"/>
                  </a:lnTo>
                  <a:lnTo>
                    <a:pt x="901" y="1802"/>
                  </a:lnTo>
                  <a:lnTo>
                    <a:pt x="883" y="1801"/>
                  </a:lnTo>
                  <a:lnTo>
                    <a:pt x="865" y="1800"/>
                  </a:lnTo>
                  <a:lnTo>
                    <a:pt x="847" y="1798"/>
                  </a:lnTo>
                  <a:lnTo>
                    <a:pt x="828" y="1796"/>
                  </a:lnTo>
                  <a:lnTo>
                    <a:pt x="812" y="1793"/>
                  </a:lnTo>
                  <a:lnTo>
                    <a:pt x="793" y="1791"/>
                  </a:lnTo>
                  <a:lnTo>
                    <a:pt x="775" y="1789"/>
                  </a:lnTo>
                  <a:lnTo>
                    <a:pt x="758" y="1785"/>
                  </a:lnTo>
                  <a:lnTo>
                    <a:pt x="742" y="1783"/>
                  </a:lnTo>
                  <a:lnTo>
                    <a:pt x="723" y="1780"/>
                  </a:lnTo>
                  <a:lnTo>
                    <a:pt x="707" y="1776"/>
                  </a:lnTo>
                  <a:lnTo>
                    <a:pt x="690" y="1772"/>
                  </a:lnTo>
                  <a:lnTo>
                    <a:pt x="673" y="1769"/>
                  </a:lnTo>
                  <a:lnTo>
                    <a:pt x="656" y="1764"/>
                  </a:lnTo>
                  <a:lnTo>
                    <a:pt x="639" y="1759"/>
                  </a:lnTo>
                  <a:lnTo>
                    <a:pt x="622" y="1755"/>
                  </a:lnTo>
                  <a:lnTo>
                    <a:pt x="605" y="1749"/>
                  </a:lnTo>
                  <a:lnTo>
                    <a:pt x="596" y="1747"/>
                  </a:lnTo>
                  <a:lnTo>
                    <a:pt x="587" y="1744"/>
                  </a:lnTo>
                  <a:lnTo>
                    <a:pt x="579" y="1741"/>
                  </a:lnTo>
                  <a:lnTo>
                    <a:pt x="570" y="1738"/>
                  </a:lnTo>
                  <a:lnTo>
                    <a:pt x="562" y="1735"/>
                  </a:lnTo>
                  <a:lnTo>
                    <a:pt x="554" y="1732"/>
                  </a:lnTo>
                  <a:lnTo>
                    <a:pt x="545" y="1729"/>
                  </a:lnTo>
                  <a:lnTo>
                    <a:pt x="537" y="1726"/>
                  </a:lnTo>
                  <a:lnTo>
                    <a:pt x="529" y="1722"/>
                  </a:lnTo>
                  <a:lnTo>
                    <a:pt x="520" y="1719"/>
                  </a:lnTo>
                  <a:lnTo>
                    <a:pt x="512" y="1715"/>
                  </a:lnTo>
                  <a:lnTo>
                    <a:pt x="504" y="1712"/>
                  </a:lnTo>
                  <a:lnTo>
                    <a:pt x="496" y="1708"/>
                  </a:lnTo>
                  <a:lnTo>
                    <a:pt x="489" y="1704"/>
                  </a:lnTo>
                  <a:lnTo>
                    <a:pt x="480" y="1701"/>
                  </a:lnTo>
                  <a:lnTo>
                    <a:pt x="472" y="1696"/>
                  </a:lnTo>
                  <a:lnTo>
                    <a:pt x="464" y="1693"/>
                  </a:lnTo>
                  <a:lnTo>
                    <a:pt x="456" y="1688"/>
                  </a:lnTo>
                  <a:lnTo>
                    <a:pt x="448" y="1684"/>
                  </a:lnTo>
                  <a:lnTo>
                    <a:pt x="441" y="1680"/>
                  </a:lnTo>
                  <a:lnTo>
                    <a:pt x="433" y="1676"/>
                  </a:lnTo>
                  <a:lnTo>
                    <a:pt x="425" y="1671"/>
                  </a:lnTo>
                  <a:lnTo>
                    <a:pt x="417" y="1667"/>
                  </a:lnTo>
                  <a:lnTo>
                    <a:pt x="410" y="1662"/>
                  </a:lnTo>
                  <a:lnTo>
                    <a:pt x="403" y="1658"/>
                  </a:lnTo>
                  <a:lnTo>
                    <a:pt x="395" y="1653"/>
                  </a:lnTo>
                  <a:lnTo>
                    <a:pt x="387" y="1648"/>
                  </a:lnTo>
                  <a:lnTo>
                    <a:pt x="380" y="1643"/>
                  </a:lnTo>
                  <a:lnTo>
                    <a:pt x="380" y="1562"/>
                  </a:lnTo>
                  <a:lnTo>
                    <a:pt x="387" y="1566"/>
                  </a:lnTo>
                  <a:lnTo>
                    <a:pt x="394" y="1570"/>
                  </a:lnTo>
                  <a:lnTo>
                    <a:pt x="402" y="1574"/>
                  </a:lnTo>
                  <a:lnTo>
                    <a:pt x="408" y="1579"/>
                  </a:lnTo>
                  <a:lnTo>
                    <a:pt x="416" y="1582"/>
                  </a:lnTo>
                  <a:lnTo>
                    <a:pt x="423" y="1587"/>
                  </a:lnTo>
                  <a:lnTo>
                    <a:pt x="431" y="1590"/>
                  </a:lnTo>
                  <a:lnTo>
                    <a:pt x="438" y="1595"/>
                  </a:lnTo>
                  <a:lnTo>
                    <a:pt x="454" y="1602"/>
                  </a:lnTo>
                  <a:lnTo>
                    <a:pt x="468" y="1609"/>
                  </a:lnTo>
                  <a:lnTo>
                    <a:pt x="484" y="1616"/>
                  </a:lnTo>
                  <a:lnTo>
                    <a:pt x="499" y="1623"/>
                  </a:lnTo>
                  <a:lnTo>
                    <a:pt x="515" y="1630"/>
                  </a:lnTo>
                  <a:lnTo>
                    <a:pt x="530" y="1635"/>
                  </a:lnTo>
                  <a:lnTo>
                    <a:pt x="546" y="1641"/>
                  </a:lnTo>
                  <a:lnTo>
                    <a:pt x="562" y="1647"/>
                  </a:lnTo>
                  <a:lnTo>
                    <a:pt x="578" y="1652"/>
                  </a:lnTo>
                  <a:lnTo>
                    <a:pt x="594" y="1658"/>
                  </a:lnTo>
                  <a:lnTo>
                    <a:pt x="609" y="1662"/>
                  </a:lnTo>
                  <a:lnTo>
                    <a:pt x="626" y="1667"/>
                  </a:lnTo>
                  <a:lnTo>
                    <a:pt x="643" y="1671"/>
                  </a:lnTo>
                  <a:lnTo>
                    <a:pt x="661" y="1676"/>
                  </a:lnTo>
                  <a:lnTo>
                    <a:pt x="679" y="1680"/>
                  </a:lnTo>
                  <a:lnTo>
                    <a:pt x="697" y="1684"/>
                  </a:lnTo>
                  <a:lnTo>
                    <a:pt x="716" y="1688"/>
                  </a:lnTo>
                  <a:lnTo>
                    <a:pt x="734" y="1692"/>
                  </a:lnTo>
                  <a:lnTo>
                    <a:pt x="752" y="1695"/>
                  </a:lnTo>
                  <a:lnTo>
                    <a:pt x="770" y="1697"/>
                  </a:lnTo>
                  <a:lnTo>
                    <a:pt x="788" y="1701"/>
                  </a:lnTo>
                  <a:lnTo>
                    <a:pt x="807" y="1703"/>
                  </a:lnTo>
                  <a:lnTo>
                    <a:pt x="825" y="1705"/>
                  </a:lnTo>
                  <a:lnTo>
                    <a:pt x="843" y="1708"/>
                  </a:lnTo>
                  <a:lnTo>
                    <a:pt x="862" y="1709"/>
                  </a:lnTo>
                  <a:lnTo>
                    <a:pt x="880" y="1711"/>
                  </a:lnTo>
                  <a:lnTo>
                    <a:pt x="900" y="1712"/>
                  </a:lnTo>
                  <a:lnTo>
                    <a:pt x="919" y="1713"/>
                  </a:lnTo>
                  <a:close/>
                  <a:moveTo>
                    <a:pt x="919" y="1852"/>
                  </a:moveTo>
                  <a:lnTo>
                    <a:pt x="919" y="1901"/>
                  </a:lnTo>
                  <a:lnTo>
                    <a:pt x="919" y="1906"/>
                  </a:lnTo>
                  <a:lnTo>
                    <a:pt x="919" y="1911"/>
                  </a:lnTo>
                  <a:lnTo>
                    <a:pt x="918" y="1916"/>
                  </a:lnTo>
                  <a:lnTo>
                    <a:pt x="918" y="1922"/>
                  </a:lnTo>
                  <a:lnTo>
                    <a:pt x="917" y="1927"/>
                  </a:lnTo>
                  <a:lnTo>
                    <a:pt x="915" y="1932"/>
                  </a:lnTo>
                  <a:lnTo>
                    <a:pt x="914" y="1937"/>
                  </a:lnTo>
                  <a:lnTo>
                    <a:pt x="913" y="1942"/>
                  </a:lnTo>
                  <a:lnTo>
                    <a:pt x="896" y="1941"/>
                  </a:lnTo>
                  <a:lnTo>
                    <a:pt x="878" y="1939"/>
                  </a:lnTo>
                  <a:lnTo>
                    <a:pt x="860" y="1938"/>
                  </a:lnTo>
                  <a:lnTo>
                    <a:pt x="843" y="1936"/>
                  </a:lnTo>
                  <a:lnTo>
                    <a:pt x="825" y="1935"/>
                  </a:lnTo>
                  <a:lnTo>
                    <a:pt x="808" y="1932"/>
                  </a:lnTo>
                  <a:lnTo>
                    <a:pt x="791" y="1929"/>
                  </a:lnTo>
                  <a:lnTo>
                    <a:pt x="773" y="1927"/>
                  </a:lnTo>
                  <a:lnTo>
                    <a:pt x="756" y="1924"/>
                  </a:lnTo>
                  <a:lnTo>
                    <a:pt x="739" y="1921"/>
                  </a:lnTo>
                  <a:lnTo>
                    <a:pt x="722" y="1918"/>
                  </a:lnTo>
                  <a:lnTo>
                    <a:pt x="705" y="1914"/>
                  </a:lnTo>
                  <a:lnTo>
                    <a:pt x="688" y="1911"/>
                  </a:lnTo>
                  <a:lnTo>
                    <a:pt x="672" y="1906"/>
                  </a:lnTo>
                  <a:lnTo>
                    <a:pt x="656" y="1903"/>
                  </a:lnTo>
                  <a:lnTo>
                    <a:pt x="639" y="1898"/>
                  </a:lnTo>
                  <a:lnTo>
                    <a:pt x="622" y="1893"/>
                  </a:lnTo>
                  <a:lnTo>
                    <a:pt x="605" y="1888"/>
                  </a:lnTo>
                  <a:lnTo>
                    <a:pt x="596" y="1885"/>
                  </a:lnTo>
                  <a:lnTo>
                    <a:pt x="587" y="1883"/>
                  </a:lnTo>
                  <a:lnTo>
                    <a:pt x="579" y="1879"/>
                  </a:lnTo>
                  <a:lnTo>
                    <a:pt x="570" y="1877"/>
                  </a:lnTo>
                  <a:lnTo>
                    <a:pt x="562" y="1874"/>
                  </a:lnTo>
                  <a:lnTo>
                    <a:pt x="554" y="1870"/>
                  </a:lnTo>
                  <a:lnTo>
                    <a:pt x="545" y="1867"/>
                  </a:lnTo>
                  <a:lnTo>
                    <a:pt x="537" y="1863"/>
                  </a:lnTo>
                  <a:lnTo>
                    <a:pt x="529" y="1861"/>
                  </a:lnTo>
                  <a:lnTo>
                    <a:pt x="520" y="1858"/>
                  </a:lnTo>
                  <a:lnTo>
                    <a:pt x="512" y="1854"/>
                  </a:lnTo>
                  <a:lnTo>
                    <a:pt x="504" y="1850"/>
                  </a:lnTo>
                  <a:lnTo>
                    <a:pt x="496" y="1846"/>
                  </a:lnTo>
                  <a:lnTo>
                    <a:pt x="489" y="1843"/>
                  </a:lnTo>
                  <a:lnTo>
                    <a:pt x="480" y="1839"/>
                  </a:lnTo>
                  <a:lnTo>
                    <a:pt x="472" y="1835"/>
                  </a:lnTo>
                  <a:lnTo>
                    <a:pt x="464" y="1831"/>
                  </a:lnTo>
                  <a:lnTo>
                    <a:pt x="456" y="1827"/>
                  </a:lnTo>
                  <a:lnTo>
                    <a:pt x="448" y="1823"/>
                  </a:lnTo>
                  <a:lnTo>
                    <a:pt x="441" y="1818"/>
                  </a:lnTo>
                  <a:lnTo>
                    <a:pt x="433" y="1815"/>
                  </a:lnTo>
                  <a:lnTo>
                    <a:pt x="425" y="1810"/>
                  </a:lnTo>
                  <a:lnTo>
                    <a:pt x="417" y="1806"/>
                  </a:lnTo>
                  <a:lnTo>
                    <a:pt x="410" y="1801"/>
                  </a:lnTo>
                  <a:lnTo>
                    <a:pt x="403" y="1796"/>
                  </a:lnTo>
                  <a:lnTo>
                    <a:pt x="395" y="1791"/>
                  </a:lnTo>
                  <a:lnTo>
                    <a:pt x="387" y="1787"/>
                  </a:lnTo>
                  <a:lnTo>
                    <a:pt x="380" y="1782"/>
                  </a:lnTo>
                  <a:lnTo>
                    <a:pt x="380" y="1700"/>
                  </a:lnTo>
                  <a:lnTo>
                    <a:pt x="387" y="1704"/>
                  </a:lnTo>
                  <a:lnTo>
                    <a:pt x="394" y="1709"/>
                  </a:lnTo>
                  <a:lnTo>
                    <a:pt x="402" y="1713"/>
                  </a:lnTo>
                  <a:lnTo>
                    <a:pt x="408" y="1717"/>
                  </a:lnTo>
                  <a:lnTo>
                    <a:pt x="416" y="1721"/>
                  </a:lnTo>
                  <a:lnTo>
                    <a:pt x="423" y="1726"/>
                  </a:lnTo>
                  <a:lnTo>
                    <a:pt x="431" y="1729"/>
                  </a:lnTo>
                  <a:lnTo>
                    <a:pt x="438" y="1732"/>
                  </a:lnTo>
                  <a:lnTo>
                    <a:pt x="454" y="1740"/>
                  </a:lnTo>
                  <a:lnTo>
                    <a:pt x="468" y="1748"/>
                  </a:lnTo>
                  <a:lnTo>
                    <a:pt x="484" y="1755"/>
                  </a:lnTo>
                  <a:lnTo>
                    <a:pt x="499" y="1762"/>
                  </a:lnTo>
                  <a:lnTo>
                    <a:pt x="515" y="1767"/>
                  </a:lnTo>
                  <a:lnTo>
                    <a:pt x="530" y="1774"/>
                  </a:lnTo>
                  <a:lnTo>
                    <a:pt x="546" y="1780"/>
                  </a:lnTo>
                  <a:lnTo>
                    <a:pt x="562" y="1785"/>
                  </a:lnTo>
                  <a:lnTo>
                    <a:pt x="578" y="1791"/>
                  </a:lnTo>
                  <a:lnTo>
                    <a:pt x="594" y="1796"/>
                  </a:lnTo>
                  <a:lnTo>
                    <a:pt x="609" y="1801"/>
                  </a:lnTo>
                  <a:lnTo>
                    <a:pt x="626" y="1806"/>
                  </a:lnTo>
                  <a:lnTo>
                    <a:pt x="643" y="1810"/>
                  </a:lnTo>
                  <a:lnTo>
                    <a:pt x="661" y="1815"/>
                  </a:lnTo>
                  <a:lnTo>
                    <a:pt x="679" y="1819"/>
                  </a:lnTo>
                  <a:lnTo>
                    <a:pt x="697" y="1823"/>
                  </a:lnTo>
                  <a:lnTo>
                    <a:pt x="716" y="1826"/>
                  </a:lnTo>
                  <a:lnTo>
                    <a:pt x="734" y="1829"/>
                  </a:lnTo>
                  <a:lnTo>
                    <a:pt x="752" y="1833"/>
                  </a:lnTo>
                  <a:lnTo>
                    <a:pt x="770" y="1836"/>
                  </a:lnTo>
                  <a:lnTo>
                    <a:pt x="788" y="1839"/>
                  </a:lnTo>
                  <a:lnTo>
                    <a:pt x="807" y="1841"/>
                  </a:lnTo>
                  <a:lnTo>
                    <a:pt x="825" y="1843"/>
                  </a:lnTo>
                  <a:lnTo>
                    <a:pt x="843" y="1845"/>
                  </a:lnTo>
                  <a:lnTo>
                    <a:pt x="862" y="1848"/>
                  </a:lnTo>
                  <a:lnTo>
                    <a:pt x="880" y="1849"/>
                  </a:lnTo>
                  <a:lnTo>
                    <a:pt x="900" y="1851"/>
                  </a:lnTo>
                  <a:lnTo>
                    <a:pt x="919" y="1852"/>
                  </a:lnTo>
                  <a:close/>
                  <a:moveTo>
                    <a:pt x="894" y="1989"/>
                  </a:moveTo>
                  <a:lnTo>
                    <a:pt x="891" y="1996"/>
                  </a:lnTo>
                  <a:lnTo>
                    <a:pt x="886" y="2001"/>
                  </a:lnTo>
                  <a:lnTo>
                    <a:pt x="882" y="2008"/>
                  </a:lnTo>
                  <a:lnTo>
                    <a:pt x="877" y="2014"/>
                  </a:lnTo>
                  <a:lnTo>
                    <a:pt x="873" y="2019"/>
                  </a:lnTo>
                  <a:lnTo>
                    <a:pt x="867" y="2025"/>
                  </a:lnTo>
                  <a:lnTo>
                    <a:pt x="861" y="2031"/>
                  </a:lnTo>
                  <a:lnTo>
                    <a:pt x="856" y="2035"/>
                  </a:lnTo>
                  <a:lnTo>
                    <a:pt x="850" y="2041"/>
                  </a:lnTo>
                  <a:lnTo>
                    <a:pt x="843" y="2045"/>
                  </a:lnTo>
                  <a:lnTo>
                    <a:pt x="838" y="2050"/>
                  </a:lnTo>
                  <a:lnTo>
                    <a:pt x="831" y="2054"/>
                  </a:lnTo>
                  <a:lnTo>
                    <a:pt x="824" y="2059"/>
                  </a:lnTo>
                  <a:lnTo>
                    <a:pt x="817" y="2062"/>
                  </a:lnTo>
                  <a:lnTo>
                    <a:pt x="810" y="2067"/>
                  </a:lnTo>
                  <a:lnTo>
                    <a:pt x="804" y="2070"/>
                  </a:lnTo>
                  <a:lnTo>
                    <a:pt x="792" y="2068"/>
                  </a:lnTo>
                  <a:lnTo>
                    <a:pt x="782" y="2067"/>
                  </a:lnTo>
                  <a:lnTo>
                    <a:pt x="772" y="2066"/>
                  </a:lnTo>
                  <a:lnTo>
                    <a:pt x="761" y="2063"/>
                  </a:lnTo>
                  <a:lnTo>
                    <a:pt x="751" y="2062"/>
                  </a:lnTo>
                  <a:lnTo>
                    <a:pt x="740" y="2060"/>
                  </a:lnTo>
                  <a:lnTo>
                    <a:pt x="730" y="2058"/>
                  </a:lnTo>
                  <a:lnTo>
                    <a:pt x="720" y="2055"/>
                  </a:lnTo>
                  <a:lnTo>
                    <a:pt x="710" y="2054"/>
                  </a:lnTo>
                  <a:lnTo>
                    <a:pt x="700" y="2052"/>
                  </a:lnTo>
                  <a:lnTo>
                    <a:pt x="690" y="2050"/>
                  </a:lnTo>
                  <a:lnTo>
                    <a:pt x="679" y="2046"/>
                  </a:lnTo>
                  <a:lnTo>
                    <a:pt x="669" y="2044"/>
                  </a:lnTo>
                  <a:lnTo>
                    <a:pt x="659" y="2042"/>
                  </a:lnTo>
                  <a:lnTo>
                    <a:pt x="649" y="2040"/>
                  </a:lnTo>
                  <a:lnTo>
                    <a:pt x="639" y="2036"/>
                  </a:lnTo>
                  <a:lnTo>
                    <a:pt x="622" y="2032"/>
                  </a:lnTo>
                  <a:lnTo>
                    <a:pt x="605" y="2026"/>
                  </a:lnTo>
                  <a:lnTo>
                    <a:pt x="596" y="2024"/>
                  </a:lnTo>
                  <a:lnTo>
                    <a:pt x="588" y="2020"/>
                  </a:lnTo>
                  <a:lnTo>
                    <a:pt x="579" y="2018"/>
                  </a:lnTo>
                  <a:lnTo>
                    <a:pt x="571" y="2015"/>
                  </a:lnTo>
                  <a:lnTo>
                    <a:pt x="562" y="2012"/>
                  </a:lnTo>
                  <a:lnTo>
                    <a:pt x="554" y="2009"/>
                  </a:lnTo>
                  <a:lnTo>
                    <a:pt x="546" y="2006"/>
                  </a:lnTo>
                  <a:lnTo>
                    <a:pt x="537" y="2002"/>
                  </a:lnTo>
                  <a:lnTo>
                    <a:pt x="529" y="1999"/>
                  </a:lnTo>
                  <a:lnTo>
                    <a:pt x="521" y="1996"/>
                  </a:lnTo>
                  <a:lnTo>
                    <a:pt x="513" y="1992"/>
                  </a:lnTo>
                  <a:lnTo>
                    <a:pt x="504" y="1989"/>
                  </a:lnTo>
                  <a:lnTo>
                    <a:pt x="496" y="1985"/>
                  </a:lnTo>
                  <a:lnTo>
                    <a:pt x="489" y="1982"/>
                  </a:lnTo>
                  <a:lnTo>
                    <a:pt x="481" y="1977"/>
                  </a:lnTo>
                  <a:lnTo>
                    <a:pt x="473" y="1974"/>
                  </a:lnTo>
                  <a:lnTo>
                    <a:pt x="465" y="1970"/>
                  </a:lnTo>
                  <a:lnTo>
                    <a:pt x="457" y="1966"/>
                  </a:lnTo>
                  <a:lnTo>
                    <a:pt x="449" y="1962"/>
                  </a:lnTo>
                  <a:lnTo>
                    <a:pt x="441" y="1958"/>
                  </a:lnTo>
                  <a:lnTo>
                    <a:pt x="433" y="1954"/>
                  </a:lnTo>
                  <a:lnTo>
                    <a:pt x="426" y="1949"/>
                  </a:lnTo>
                  <a:lnTo>
                    <a:pt x="419" y="1945"/>
                  </a:lnTo>
                  <a:lnTo>
                    <a:pt x="411" y="1940"/>
                  </a:lnTo>
                  <a:lnTo>
                    <a:pt x="404" y="1936"/>
                  </a:lnTo>
                  <a:lnTo>
                    <a:pt x="396" y="1931"/>
                  </a:lnTo>
                  <a:lnTo>
                    <a:pt x="388" y="1925"/>
                  </a:lnTo>
                  <a:lnTo>
                    <a:pt x="381" y="1921"/>
                  </a:lnTo>
                  <a:lnTo>
                    <a:pt x="380" y="1916"/>
                  </a:lnTo>
                  <a:lnTo>
                    <a:pt x="380" y="1911"/>
                  </a:lnTo>
                  <a:lnTo>
                    <a:pt x="380" y="1905"/>
                  </a:lnTo>
                  <a:lnTo>
                    <a:pt x="380" y="1901"/>
                  </a:lnTo>
                  <a:lnTo>
                    <a:pt x="380" y="1839"/>
                  </a:lnTo>
                  <a:lnTo>
                    <a:pt x="387" y="1843"/>
                  </a:lnTo>
                  <a:lnTo>
                    <a:pt x="394" y="1848"/>
                  </a:lnTo>
                  <a:lnTo>
                    <a:pt x="402" y="1851"/>
                  </a:lnTo>
                  <a:lnTo>
                    <a:pt x="408" y="1855"/>
                  </a:lnTo>
                  <a:lnTo>
                    <a:pt x="416" y="1860"/>
                  </a:lnTo>
                  <a:lnTo>
                    <a:pt x="423" y="1863"/>
                  </a:lnTo>
                  <a:lnTo>
                    <a:pt x="431" y="1868"/>
                  </a:lnTo>
                  <a:lnTo>
                    <a:pt x="438" y="1871"/>
                  </a:lnTo>
                  <a:lnTo>
                    <a:pt x="454" y="1879"/>
                  </a:lnTo>
                  <a:lnTo>
                    <a:pt x="468" y="1886"/>
                  </a:lnTo>
                  <a:lnTo>
                    <a:pt x="484" y="1893"/>
                  </a:lnTo>
                  <a:lnTo>
                    <a:pt x="499" y="1900"/>
                  </a:lnTo>
                  <a:lnTo>
                    <a:pt x="515" y="1906"/>
                  </a:lnTo>
                  <a:lnTo>
                    <a:pt x="530" y="1912"/>
                  </a:lnTo>
                  <a:lnTo>
                    <a:pt x="546" y="1919"/>
                  </a:lnTo>
                  <a:lnTo>
                    <a:pt x="562" y="1924"/>
                  </a:lnTo>
                  <a:lnTo>
                    <a:pt x="578" y="1929"/>
                  </a:lnTo>
                  <a:lnTo>
                    <a:pt x="594" y="1935"/>
                  </a:lnTo>
                  <a:lnTo>
                    <a:pt x="609" y="1939"/>
                  </a:lnTo>
                  <a:lnTo>
                    <a:pt x="626" y="1945"/>
                  </a:lnTo>
                  <a:lnTo>
                    <a:pt x="642" y="1948"/>
                  </a:lnTo>
                  <a:lnTo>
                    <a:pt x="659" y="1953"/>
                  </a:lnTo>
                  <a:lnTo>
                    <a:pt x="675" y="1956"/>
                  </a:lnTo>
                  <a:lnTo>
                    <a:pt x="692" y="1961"/>
                  </a:lnTo>
                  <a:lnTo>
                    <a:pt x="708" y="1964"/>
                  </a:lnTo>
                  <a:lnTo>
                    <a:pt x="725" y="1967"/>
                  </a:lnTo>
                  <a:lnTo>
                    <a:pt x="742" y="1970"/>
                  </a:lnTo>
                  <a:lnTo>
                    <a:pt x="757" y="1973"/>
                  </a:lnTo>
                  <a:lnTo>
                    <a:pt x="774" y="1975"/>
                  </a:lnTo>
                  <a:lnTo>
                    <a:pt x="791" y="1977"/>
                  </a:lnTo>
                  <a:lnTo>
                    <a:pt x="808" y="1980"/>
                  </a:lnTo>
                  <a:lnTo>
                    <a:pt x="825" y="1982"/>
                  </a:lnTo>
                  <a:lnTo>
                    <a:pt x="842" y="1984"/>
                  </a:lnTo>
                  <a:lnTo>
                    <a:pt x="860" y="1985"/>
                  </a:lnTo>
                  <a:lnTo>
                    <a:pt x="877" y="1988"/>
                  </a:lnTo>
                  <a:lnTo>
                    <a:pt x="894" y="1989"/>
                  </a:lnTo>
                  <a:close/>
                  <a:moveTo>
                    <a:pt x="662" y="2092"/>
                  </a:moveTo>
                  <a:lnTo>
                    <a:pt x="597" y="2092"/>
                  </a:lnTo>
                  <a:lnTo>
                    <a:pt x="589" y="2092"/>
                  </a:lnTo>
                  <a:lnTo>
                    <a:pt x="581" y="2092"/>
                  </a:lnTo>
                  <a:lnTo>
                    <a:pt x="574" y="2092"/>
                  </a:lnTo>
                  <a:lnTo>
                    <a:pt x="567" y="2090"/>
                  </a:lnTo>
                  <a:lnTo>
                    <a:pt x="560" y="2089"/>
                  </a:lnTo>
                  <a:lnTo>
                    <a:pt x="552" y="2088"/>
                  </a:lnTo>
                  <a:lnTo>
                    <a:pt x="545" y="2086"/>
                  </a:lnTo>
                  <a:lnTo>
                    <a:pt x="538" y="2085"/>
                  </a:lnTo>
                  <a:lnTo>
                    <a:pt x="530" y="2082"/>
                  </a:lnTo>
                  <a:lnTo>
                    <a:pt x="524" y="2081"/>
                  </a:lnTo>
                  <a:lnTo>
                    <a:pt x="517" y="2079"/>
                  </a:lnTo>
                  <a:lnTo>
                    <a:pt x="511" y="2076"/>
                  </a:lnTo>
                  <a:lnTo>
                    <a:pt x="504" y="2073"/>
                  </a:lnTo>
                  <a:lnTo>
                    <a:pt x="498" y="2071"/>
                  </a:lnTo>
                  <a:lnTo>
                    <a:pt x="491" y="2068"/>
                  </a:lnTo>
                  <a:lnTo>
                    <a:pt x="485" y="2064"/>
                  </a:lnTo>
                  <a:lnTo>
                    <a:pt x="480" y="2061"/>
                  </a:lnTo>
                  <a:lnTo>
                    <a:pt x="473" y="2058"/>
                  </a:lnTo>
                  <a:lnTo>
                    <a:pt x="467" y="2054"/>
                  </a:lnTo>
                  <a:lnTo>
                    <a:pt x="461" y="2050"/>
                  </a:lnTo>
                  <a:lnTo>
                    <a:pt x="456" y="2046"/>
                  </a:lnTo>
                  <a:lnTo>
                    <a:pt x="451" y="2042"/>
                  </a:lnTo>
                  <a:lnTo>
                    <a:pt x="446" y="2037"/>
                  </a:lnTo>
                  <a:lnTo>
                    <a:pt x="441" y="2033"/>
                  </a:lnTo>
                  <a:lnTo>
                    <a:pt x="436" y="2028"/>
                  </a:lnTo>
                  <a:lnTo>
                    <a:pt x="431" y="2024"/>
                  </a:lnTo>
                  <a:lnTo>
                    <a:pt x="426" y="2019"/>
                  </a:lnTo>
                  <a:lnTo>
                    <a:pt x="422" y="2014"/>
                  </a:lnTo>
                  <a:lnTo>
                    <a:pt x="419" y="2009"/>
                  </a:lnTo>
                  <a:lnTo>
                    <a:pt x="414" y="2003"/>
                  </a:lnTo>
                  <a:lnTo>
                    <a:pt x="411" y="1999"/>
                  </a:lnTo>
                  <a:lnTo>
                    <a:pt x="407" y="1993"/>
                  </a:lnTo>
                  <a:lnTo>
                    <a:pt x="420" y="2000"/>
                  </a:lnTo>
                  <a:lnTo>
                    <a:pt x="433" y="2007"/>
                  </a:lnTo>
                  <a:lnTo>
                    <a:pt x="446" y="2014"/>
                  </a:lnTo>
                  <a:lnTo>
                    <a:pt x="459" y="2020"/>
                  </a:lnTo>
                  <a:lnTo>
                    <a:pt x="473" y="2027"/>
                  </a:lnTo>
                  <a:lnTo>
                    <a:pt x="486" y="2033"/>
                  </a:lnTo>
                  <a:lnTo>
                    <a:pt x="500" y="2038"/>
                  </a:lnTo>
                  <a:lnTo>
                    <a:pt x="513" y="2044"/>
                  </a:lnTo>
                  <a:lnTo>
                    <a:pt x="527" y="2050"/>
                  </a:lnTo>
                  <a:lnTo>
                    <a:pt x="541" y="2055"/>
                  </a:lnTo>
                  <a:lnTo>
                    <a:pt x="555" y="2060"/>
                  </a:lnTo>
                  <a:lnTo>
                    <a:pt x="569" y="2066"/>
                  </a:lnTo>
                  <a:lnTo>
                    <a:pt x="583" y="2070"/>
                  </a:lnTo>
                  <a:lnTo>
                    <a:pt x="597" y="2075"/>
                  </a:lnTo>
                  <a:lnTo>
                    <a:pt x="612" y="2078"/>
                  </a:lnTo>
                  <a:lnTo>
                    <a:pt x="626" y="2082"/>
                  </a:lnTo>
                  <a:lnTo>
                    <a:pt x="631" y="2084"/>
                  </a:lnTo>
                  <a:lnTo>
                    <a:pt x="635" y="2085"/>
                  </a:lnTo>
                  <a:lnTo>
                    <a:pt x="640" y="2086"/>
                  </a:lnTo>
                  <a:lnTo>
                    <a:pt x="644" y="2087"/>
                  </a:lnTo>
                  <a:lnTo>
                    <a:pt x="649" y="2088"/>
                  </a:lnTo>
                  <a:lnTo>
                    <a:pt x="653" y="2089"/>
                  </a:lnTo>
                  <a:lnTo>
                    <a:pt x="658" y="2090"/>
                  </a:lnTo>
                  <a:lnTo>
                    <a:pt x="662" y="20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0" name="Rectangle 159"/>
          <p:cNvSpPr/>
          <p:nvPr/>
        </p:nvSpPr>
        <p:spPr>
          <a:xfrm rot="5400000">
            <a:off x="1558702" y="5250209"/>
            <a:ext cx="761999" cy="167585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2140786" y="5010836"/>
            <a:ext cx="204034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sp>
        <p:nvSpPr>
          <p:cNvPr id="162" name="Rectangle 161"/>
          <p:cNvSpPr/>
          <p:nvPr/>
        </p:nvSpPr>
        <p:spPr>
          <a:xfrm rot="5400000">
            <a:off x="4752068" y="5250209"/>
            <a:ext cx="761999" cy="167585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defTabSz="457200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5334152" y="5010836"/>
            <a:ext cx="204034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typesetting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52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83597ee879d9c24870aa838f3faca1dafd67e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GSdgH.uUSydgA0ng7C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solidFill>
          <a:srgbClr val="D5D5D5"/>
        </a:solidFill>
        <a:ln w="3175">
          <a:noFill/>
          <a:round/>
          <a:headEnd/>
          <a:tailEnd/>
        </a:ln>
        <a:effectLst/>
      </a:spPr>
      <a:bodyPr wrap="square" tIns="91440" bIns="91440" anchor="ctr">
        <a:spAutoFit/>
      </a:bodyPr>
      <a:lstStyle>
        <a:defPPr>
          <a:defRPr b="1" dirty="0" err="1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1</TotalTime>
  <Words>475</Words>
  <Application>Microsoft Office PowerPoint</Application>
  <PresentationFormat>On-screen Show (4:3)</PresentationFormat>
  <Paragraphs>102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lideshop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Presentation</dc:title>
  <dc:creator>Slideshop.com</dc:creator>
  <cp:lastModifiedBy>Ellis</cp:lastModifiedBy>
  <cp:revision>158</cp:revision>
  <dcterms:created xsi:type="dcterms:W3CDTF">2013-04-12T09:04:25Z</dcterms:created>
  <dcterms:modified xsi:type="dcterms:W3CDTF">2013-10-09T02:32:25Z</dcterms:modified>
</cp:coreProperties>
</file>